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76" r:id="rId1"/>
  </p:sldMasterIdLst>
  <p:notesMasterIdLst>
    <p:notesMasterId r:id="rId22"/>
  </p:notesMasterIdLst>
  <p:handoutMasterIdLst>
    <p:handoutMasterId r:id="rId23"/>
  </p:handoutMasterIdLst>
  <p:sldIdLst>
    <p:sldId id="451" r:id="rId2"/>
    <p:sldId id="555" r:id="rId3"/>
    <p:sldId id="564" r:id="rId4"/>
    <p:sldId id="548" r:id="rId5"/>
    <p:sldId id="472" r:id="rId6"/>
    <p:sldId id="551" r:id="rId7"/>
    <p:sldId id="556" r:id="rId8"/>
    <p:sldId id="544" r:id="rId9"/>
    <p:sldId id="550" r:id="rId10"/>
    <p:sldId id="545" r:id="rId11"/>
    <p:sldId id="552" r:id="rId12"/>
    <p:sldId id="553" r:id="rId13"/>
    <p:sldId id="554" r:id="rId14"/>
    <p:sldId id="557" r:id="rId15"/>
    <p:sldId id="558" r:id="rId16"/>
    <p:sldId id="559" r:id="rId17"/>
    <p:sldId id="563" r:id="rId18"/>
    <p:sldId id="560" r:id="rId19"/>
    <p:sldId id="561" r:id="rId20"/>
    <p:sldId id="562" r:id="rId21"/>
  </p:sldIdLst>
  <p:sldSz cx="9144000" cy="6858000" type="screen4x3"/>
  <p:notesSz cx="6797675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97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4E54"/>
    <a:srgbClr val="3477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049" autoAdjust="0"/>
    <p:restoredTop sz="94820" autoAdjust="0"/>
  </p:normalViewPr>
  <p:slideViewPr>
    <p:cSldViewPr>
      <p:cViewPr>
        <p:scale>
          <a:sx n="75" d="100"/>
          <a:sy n="75" d="100"/>
        </p:scale>
        <p:origin x="-18" y="360"/>
      </p:cViewPr>
      <p:guideLst>
        <p:guide orient="horz" pos="2160"/>
        <p:guide pos="2880"/>
        <p:guide pos="2971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6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7C8AAA-D61E-4518-B577-E9238453296F}" type="datetimeFigureOut">
              <a:rPr lang="ru-RU" smtClean="0"/>
              <a:pPr/>
              <a:t>21.12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6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B8AAC4-C860-4D37-92C9-05998533F0E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731614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6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FC1042-B46D-4895-97C7-B1620BA85686}" type="datetimeFigureOut">
              <a:rPr lang="ru-RU" smtClean="0"/>
              <a:pPr/>
              <a:t>21.12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90270"/>
            <a:ext cx="5438140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6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C5AA8C-7B36-4C55-93B1-BA2BA2F7F41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12197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2" y="5305831"/>
            <a:ext cx="5859954" cy="246261"/>
          </a:xfrm>
        </p:spPr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46360" y="9494918"/>
            <a:ext cx="85659" cy="18469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3788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1863" y="741363"/>
            <a:ext cx="4933950" cy="37020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C5187-1A92-403F-9AD4-8B61D2FBC2B5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241632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1863" y="741363"/>
            <a:ext cx="4933950" cy="37020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C5187-1A92-403F-9AD4-8B61D2FBC2B5}" type="slidenum">
              <a:rPr lang="ru-RU" smtClean="0">
                <a:solidFill>
                  <a:prstClr val="black"/>
                </a:solidFill>
              </a:rPr>
              <a:pPr/>
              <a:t>1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24163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1863" y="741363"/>
            <a:ext cx="4933950" cy="37020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C5187-1A92-403F-9AD4-8B61D2FBC2B5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24163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1863" y="741363"/>
            <a:ext cx="4933950" cy="37020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C5187-1A92-403F-9AD4-8B61D2FBC2B5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24163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1863" y="741363"/>
            <a:ext cx="4933950" cy="37020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C5187-1A92-403F-9AD4-8B61D2FBC2B5}" type="slidenum">
              <a:rPr lang="ru-RU" smtClean="0"/>
              <a:pPr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24163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0275" y="741363"/>
            <a:ext cx="4937125" cy="37020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C5187-1A92-403F-9AD4-8B61D2FBC2B5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2157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0275" y="739775"/>
            <a:ext cx="4937125" cy="37036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C5187-1A92-403F-9AD4-8B61D2FBC2B5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24163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0275" y="739775"/>
            <a:ext cx="4937125" cy="37036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C5187-1A92-403F-9AD4-8B61D2FBC2B5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2045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229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154E67D6-D783-447F-A80A-CD325E09F4E9}" type="slidenum">
              <a:rPr lang="ru-RU" smtClean="0">
                <a:solidFill>
                  <a:srgbClr val="000000"/>
                </a:solidFill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 smtClean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229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FC6699DA-3B52-40E9-85A5-71BFF472CCB0}" type="slidenum">
              <a:rPr lang="ru-RU" smtClean="0">
                <a:solidFill>
                  <a:srgbClr val="000000"/>
                </a:solidFill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 smtClean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1863" y="741363"/>
            <a:ext cx="4933950" cy="37020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C5187-1A92-403F-9AD4-8B61D2FBC2B5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24163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1863" y="741363"/>
            <a:ext cx="4933950" cy="37020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C5187-1A92-403F-9AD4-8B61D2FBC2B5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24163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1863" y="741363"/>
            <a:ext cx="4933950" cy="37020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C5187-1A92-403F-9AD4-8B61D2FBC2B5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24163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ый треугольник 9"/>
          <p:cNvSpPr/>
          <p:nvPr/>
        </p:nvSpPr>
        <p:spPr>
          <a:xfrm>
            <a:off x="-2" y="4664147"/>
            <a:ext cx="9151089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grpSp>
        <p:nvGrpSpPr>
          <p:cNvPr id="2" name="Группа 1"/>
          <p:cNvGrpSpPr/>
          <p:nvPr/>
        </p:nvGrpSpPr>
        <p:grpSpPr>
          <a:xfrm>
            <a:off x="-3765" y="4953000"/>
            <a:ext cx="9147765" cy="1912088"/>
            <a:chOff x="-3765" y="4832896"/>
            <a:chExt cx="9147765" cy="2032192"/>
          </a:xfrm>
        </p:grpSpPr>
        <p:sp>
          <p:nvSpPr>
            <p:cNvPr id="7" name="Полилиния 6"/>
            <p:cNvSpPr>
              <a:spLocks/>
            </p:cNvSpPr>
            <p:nvPr/>
          </p:nvSpPr>
          <p:spPr bwMode="auto">
            <a:xfrm>
              <a:off x="1687513" y="4832896"/>
              <a:ext cx="7456487" cy="51881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8" name="Полилиния 7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11" name="Полилиния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 cstate="print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>
              <a:extLst/>
            </a:lstStyle>
            <a:p>
              <a:pPr algn="ctr" eaLnBrk="1" latinLnBrk="0" hangingPunct="1"/>
              <a:endParaRPr kumimoji="0" lang="en-US"/>
            </a:p>
          </p:txBody>
        </p:sp>
        <p:cxnSp>
          <p:nvCxnSpPr>
            <p:cNvPr id="12" name="Прямая соединительная линия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39A3656A-6BEB-4A48-9F88-3FBFB2007E1E}" type="datetime1">
              <a:rPr lang="ru-RU" smtClean="0"/>
              <a:pPr/>
              <a:t>21.12.2016</a:t>
            </a:fld>
            <a:endParaRPr lang="ru-RU"/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endParaRPr lang="ru-RU"/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D8F9B91F-1A08-401C-82BC-FDF1A926CE38}" type="datetime1">
              <a:rPr lang="ru-RU" smtClean="0"/>
              <a:pPr/>
              <a:t>21.1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2139F3B-03A6-4E9F-BE7C-5B2331C076B2}" type="datetime1">
              <a:rPr lang="ru-RU" smtClean="0"/>
              <a:pPr/>
              <a:t>21.1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8679495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3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-1353"/>
            <a:ext cx="9144000" cy="6860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67007" y="349865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 smtClean="0"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67006" y="508600"/>
            <a:ext cx="28757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 smtClean="0">
                <a:latin typeface="+mn-lt"/>
              </a:rPr>
              <a:t>Last Modified 6/16/2016 2:11 AM Central Asia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67008" y="668957"/>
            <a:ext cx="257923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 smtClean="0">
                <a:latin typeface="+mn-lt"/>
              </a:rPr>
              <a:t>Printed 6/15/2016 1:02 AM Central Asia Standard Tim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67007" y="2167275"/>
            <a:ext cx="4396834" cy="110799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67007" y="3805361"/>
            <a:ext cx="4396834" cy="307777"/>
          </a:xfrm>
        </p:spPr>
        <p:txBody>
          <a:bodyPr wrap="square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grpSp>
        <p:nvGrpSpPr>
          <p:cNvPr id="3" name="McK Title Elements" hidden="1"/>
          <p:cNvGrpSpPr>
            <a:grpSpLocks/>
          </p:cNvGrpSpPr>
          <p:nvPr userDrawn="1"/>
        </p:nvGrpSpPr>
        <p:grpSpPr bwMode="auto">
          <a:xfrm>
            <a:off x="467007" y="4734494"/>
            <a:ext cx="4396834" cy="2013363"/>
            <a:chOff x="537729" y="4582044"/>
            <a:chExt cx="5121275" cy="1973282"/>
          </a:xfrm>
        </p:grpSpPr>
        <p:sp>
          <p:nvSpPr>
            <p:cNvPr id="14" name="McK Document type"/>
            <p:cNvSpPr txBox="1">
              <a:spLocks noChangeArrowheads="1"/>
            </p:cNvSpPr>
            <p:nvPr/>
          </p:nvSpPr>
          <p:spPr bwMode="auto">
            <a:xfrm>
              <a:off x="537729" y="4582044"/>
              <a:ext cx="4935539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="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5" name="McK Date"/>
            <p:cNvSpPr txBox="1">
              <a:spLocks noChangeArrowheads="1"/>
            </p:cNvSpPr>
            <p:nvPr/>
          </p:nvSpPr>
          <p:spPr bwMode="auto">
            <a:xfrm>
              <a:off x="537729" y="4850332"/>
              <a:ext cx="4935539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="0" baseline="0" noProof="0" smtClean="0">
                  <a:latin typeface="+mn-lt"/>
                </a:rPr>
                <a:t>Date</a:t>
              </a:r>
            </a:p>
          </p:txBody>
        </p:sp>
        <p:sp>
          <p:nvSpPr>
            <p:cNvPr id="16" name="McK Disclaimer"/>
            <p:cNvSpPr>
              <a:spLocks noChangeArrowheads="1"/>
            </p:cNvSpPr>
            <p:nvPr/>
          </p:nvSpPr>
          <p:spPr bwMode="auto">
            <a:xfrm>
              <a:off x="537729" y="6432215"/>
              <a:ext cx="51212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00" b="0" baseline="0" noProof="0" dirty="0">
                  <a:latin typeface="+mn-lt"/>
                </a:rPr>
                <a:t>CONFIDENTIAL AND </a:t>
              </a:r>
              <a:r>
                <a:rPr lang="en-US" sz="800" b="0" baseline="0" noProof="0" dirty="0" smtClean="0">
                  <a:latin typeface="+mn-lt"/>
                </a:rPr>
                <a:t>PROPRIETARY</a:t>
              </a:r>
              <a:endParaRPr lang="en-US" sz="800" b="0" baseline="0" noProof="0" dirty="0">
                <a:latin typeface="+mn-lt"/>
              </a:endParaRPr>
            </a:p>
          </p:txBody>
        </p:sp>
      </p:grp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829844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951E390E-F939-4BB1-8C7F-002E7482F1D9}" type="datetime1">
              <a:rPr lang="ru-RU" smtClean="0"/>
              <a:pPr/>
              <a:t>21.1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 lIns="91440" rIns="91440" anchor="t"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809B201-F557-4E69-8DB1-B4C1261CC280}" type="datetime1">
              <a:rPr lang="ru-RU" smtClean="0"/>
              <a:pPr/>
              <a:t>21.1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Нашивка 6"/>
          <p:cNvSpPr/>
          <p:nvPr/>
        </p:nvSpPr>
        <p:spPr>
          <a:xfrm>
            <a:off x="3636680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8" name="Нашивка 7"/>
          <p:cNvSpPr/>
          <p:nvPr/>
        </p:nvSpPr>
        <p:spPr>
          <a:xfrm>
            <a:off x="3450264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C0C253DB-C547-4C66-A075-4559A98352C1}" type="datetime1">
              <a:rPr lang="ru-RU" smtClean="0"/>
              <a:pPr/>
              <a:t>21.1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AC133396-7413-45FC-9123-E6FBB551AA23}" type="datetime1">
              <a:rPr lang="ru-RU" smtClean="0"/>
              <a:pPr/>
              <a:t>21.12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047D6EBD-CE09-4BB7-BB0D-A1F7D9AACD94}" type="datetime1">
              <a:rPr lang="ru-RU" smtClean="0"/>
              <a:pPr/>
              <a:t>21.12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720ABA9C-B423-4353-8A54-BDBBCE7A2E1D}" type="datetime1">
              <a:rPr lang="ru-RU" smtClean="0"/>
              <a:pPr/>
              <a:t>21.12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vert="horz"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</p:spPr>
        <p:txBody>
          <a:bodyPr/>
          <a:lstStyle>
            <a:extLst/>
          </a:lstStyle>
          <a:p>
            <a:fld id="{B28A9644-61F7-4DE4-A174-BB0432EAAD5C}" type="datetime1">
              <a:rPr lang="ru-RU" smtClean="0"/>
              <a:pPr/>
              <a:t>21.1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lIns="91440" tIns="0" rIns="91440" anchor="t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336E5D26-B141-4CE5-BEA4-624DEAA241A8}" type="datetime1">
              <a:rPr lang="ru-RU" smtClean="0"/>
              <a:pPr/>
              <a:t>21.1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380072" y="6407944"/>
            <a:ext cx="235068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8" name="Полилиния 7"/>
          <p:cNvSpPr>
            <a:spLocks/>
          </p:cNvSpPr>
          <p:nvPr/>
        </p:nvSpPr>
        <p:spPr bwMode="auto">
          <a:xfrm>
            <a:off x="716436" y="5001993"/>
            <a:ext cx="3802003" cy="144311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-329" y="347"/>
                </a:moveTo>
                <a:lnTo>
                  <a:pt x="7156" y="682"/>
                </a:lnTo>
                <a:lnTo>
                  <a:pt x="5229" y="682"/>
                </a:lnTo>
                <a:lnTo>
                  <a:pt x="-328" y="345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9" name="Полилиния 8"/>
          <p:cNvSpPr>
            <a:spLocks/>
          </p:cNvSpPr>
          <p:nvPr/>
        </p:nvSpPr>
        <p:spPr bwMode="auto">
          <a:xfrm>
            <a:off x="-53561" y="5785023"/>
            <a:ext cx="3802003" cy="8382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817" y="97"/>
                </a:moveTo>
                <a:lnTo>
                  <a:pt x="6408" y="682"/>
                </a:lnTo>
                <a:lnTo>
                  <a:pt x="5232" y="685"/>
                </a:lnTo>
                <a:lnTo>
                  <a:pt x="829" y="101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0" name="Прямоугольный треугольник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2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Нашивка 11"/>
          <p:cNvSpPr/>
          <p:nvPr/>
        </p:nvSpPr>
        <p:spPr>
          <a:xfrm>
            <a:off x="8664112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13" name="Нашивка 12"/>
          <p:cNvSpPr/>
          <p:nvPr/>
        </p:nvSpPr>
        <p:spPr>
          <a:xfrm>
            <a:off x="8477696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>
            <a:spLocks/>
          </p:cNvSpPr>
          <p:nvPr/>
        </p:nvSpPr>
        <p:spPr bwMode="auto">
          <a:xfrm>
            <a:off x="716436" y="5001993"/>
            <a:ext cx="3802003" cy="144311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-329" y="347"/>
                </a:moveTo>
                <a:lnTo>
                  <a:pt x="7156" y="682"/>
                </a:lnTo>
                <a:lnTo>
                  <a:pt x="5229" y="682"/>
                </a:lnTo>
                <a:lnTo>
                  <a:pt x="-328" y="345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2" name="Полилиния 11"/>
          <p:cNvSpPr>
            <a:spLocks/>
          </p:cNvSpPr>
          <p:nvPr/>
        </p:nvSpPr>
        <p:spPr bwMode="auto">
          <a:xfrm>
            <a:off x="-53561" y="5785023"/>
            <a:ext cx="3802003" cy="8382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817" y="97"/>
                </a:moveTo>
                <a:lnTo>
                  <a:pt x="6408" y="682"/>
                </a:lnTo>
                <a:lnTo>
                  <a:pt x="5232" y="685"/>
                </a:lnTo>
                <a:lnTo>
                  <a:pt x="829" y="101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4" name="Прямоугольный треугольник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4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0" name="Текст 29"/>
          <p:cNvSpPr>
            <a:spLocks noGrp="1"/>
          </p:cNvSpPr>
          <p:nvPr>
            <p:ph type="body" idx="1"/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fld id="{37339ED1-2741-4648-9332-7AA884D4324A}" type="datetime1">
              <a:rPr lang="ru-RU" smtClean="0"/>
              <a:pPr/>
              <a:t>21.12.2016</a:t>
            </a:fld>
            <a:endParaRPr lang="ru-RU"/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4380072" y="6407944"/>
            <a:ext cx="2350681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endParaRPr lang="ru-RU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56032" algn="l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l" rtl="0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l" rtl="0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7158" y="1853691"/>
            <a:ext cx="8501122" cy="430887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3600" b="1" dirty="0">
                <a:effectLst/>
              </a:rPr>
              <a:t>Закон </a:t>
            </a:r>
            <a:r>
              <a:rPr lang="ru-RU" sz="3600" b="1" dirty="0" smtClean="0">
                <a:effectLst/>
              </a:rPr>
              <a:t>РК от </a:t>
            </a:r>
            <a:r>
              <a:rPr lang="ru-RU" sz="3600" b="1" dirty="0">
                <a:effectLst/>
              </a:rPr>
              <a:t>30 ноября 2016 года </a:t>
            </a:r>
            <a:r>
              <a:rPr lang="ru-RU" sz="3600" b="1" dirty="0" smtClean="0">
                <a:effectLst/>
              </a:rPr>
              <a:t> </a:t>
            </a:r>
            <a:r>
              <a:rPr lang="ru-RU" sz="3600" b="1" dirty="0">
                <a:effectLst/>
              </a:rPr>
              <a:t>26-</a:t>
            </a:r>
            <a:r>
              <a:rPr lang="en-US" sz="3600" b="1" dirty="0">
                <a:effectLst/>
              </a:rPr>
              <a:t>VI</a:t>
            </a:r>
            <a:r>
              <a:rPr lang="ru-RU" sz="3600" b="1" dirty="0">
                <a:effectLst/>
              </a:rPr>
              <a:t> ЗРК </a:t>
            </a:r>
            <a:r>
              <a:rPr lang="ru-RU" sz="3600" b="1" dirty="0" smtClean="0">
                <a:effectLst/>
              </a:rPr>
              <a:t> «О </a:t>
            </a:r>
            <a:r>
              <a:rPr lang="ru-RU" sz="3600" b="1" dirty="0">
                <a:effectLst/>
              </a:rPr>
              <a:t>внесении изменений и дополнений в некоторые законодательные акты Республики Казахстан по вопросам налогообложения и таможенного </a:t>
            </a:r>
            <a:r>
              <a:rPr lang="ru-RU" sz="3600" b="1" dirty="0" smtClean="0">
                <a:effectLst/>
              </a:rPr>
              <a:t>администрирования» </a:t>
            </a:r>
            <a:r>
              <a:rPr lang="ru-RU" sz="3600" b="1" dirty="0">
                <a:effectLst/>
              </a:rPr>
              <a:t>  </a:t>
            </a:r>
            <a:r>
              <a:rPr lang="en-US" sz="3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3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0" y="6500834"/>
            <a:ext cx="9144000" cy="214314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None/>
            </a:pPr>
            <a:r>
              <a:rPr lang="ru-RU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стана, 2016 год</a:t>
            </a:r>
            <a:endParaRPr lang="az-Cyrl-AZ" dirty="0"/>
          </a:p>
        </p:txBody>
      </p:sp>
      <p:sp>
        <p:nvSpPr>
          <p:cNvPr id="8" name="Subtitle 2"/>
          <p:cNvSpPr txBox="1">
            <a:spLocks/>
          </p:cNvSpPr>
          <p:nvPr/>
        </p:nvSpPr>
        <p:spPr bwMode="auto">
          <a:xfrm>
            <a:off x="0" y="142852"/>
            <a:ext cx="9144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42900" lvl="0" indent="-342900" algn="ctr">
              <a:spcBef>
                <a:spcPct val="20000"/>
              </a:spcBef>
            </a:pPr>
            <a:r>
              <a:rPr lang="ru-RU" sz="1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инистерство финансов Республики Казахстан</a:t>
            </a:r>
            <a:endParaRPr kumimoji="0" lang="az-Cyrl-AZ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6895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158" y="764705"/>
            <a:ext cx="8440615" cy="4968552"/>
          </a:xfrm>
          <a:solidFill>
            <a:schemeClr val="bg1"/>
          </a:solidFill>
        </p:spPr>
        <p:txBody>
          <a:bodyPr anchor="ctr">
            <a:normAutofit/>
          </a:bodyPr>
          <a:lstStyle/>
          <a:p>
            <a:pPr marL="0" lvl="1" indent="446088" algn="just">
              <a:lnSpc>
                <a:spcPct val="114000"/>
              </a:lnSpc>
              <a:buNone/>
            </a:pPr>
            <a:r>
              <a:rPr lang="ru-RU" sz="17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орядок определения и применения рыночного курса </a:t>
            </a:r>
            <a:r>
              <a:rPr lang="ru-RU" sz="17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обмена </a:t>
            </a:r>
            <a:r>
              <a:rPr lang="ru-RU" sz="17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валют устанавливается Национальным Банком.</a:t>
            </a:r>
          </a:p>
          <a:p>
            <a:pPr marL="0" lvl="1" indent="446088" algn="just">
              <a:lnSpc>
                <a:spcPct val="114000"/>
              </a:lnSpc>
              <a:buNone/>
            </a:pPr>
            <a:r>
              <a:rPr lang="ru-RU" sz="17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В действующем Налоговом кодексе  рыночный </a:t>
            </a:r>
            <a:r>
              <a:rPr lang="ru-RU" sz="17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курс обмена валют – это средневзвешенный курс</a:t>
            </a:r>
            <a:r>
              <a:rPr lang="ru-RU" sz="17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, сложившийся на основной сессии фондовой биржи </a:t>
            </a:r>
            <a:r>
              <a:rPr lang="ru-RU" sz="17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и </a:t>
            </a:r>
            <a:r>
              <a:rPr lang="ru-RU" sz="17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определенный в порядке</a:t>
            </a:r>
            <a:r>
              <a:rPr lang="ru-RU" sz="17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, устанавливаемом Национальным банком. </a:t>
            </a:r>
          </a:p>
          <a:p>
            <a:pPr marL="0" lvl="1" indent="446088" algn="just">
              <a:lnSpc>
                <a:spcPct val="114000"/>
              </a:lnSpc>
              <a:buNone/>
            </a:pPr>
            <a:r>
              <a:rPr lang="ru-RU" sz="17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ри этом согласно изменениям в </a:t>
            </a:r>
            <a:r>
              <a:rPr lang="ru-RU" sz="17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остановление Правления Национального банка, внесенным в 2015 </a:t>
            </a:r>
            <a:r>
              <a:rPr lang="ru-RU" sz="17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году, </a:t>
            </a:r>
            <a:r>
              <a:rPr lang="ru-RU" sz="17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рыночный курс обмена валют определяется по итогам </a:t>
            </a:r>
            <a:r>
              <a:rPr lang="ru-RU" sz="17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двух сессий фондовой </a:t>
            </a:r>
            <a:r>
              <a:rPr lang="ru-RU" sz="17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биржи</a:t>
            </a:r>
            <a:r>
              <a:rPr lang="ru-RU" sz="17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0" lvl="1" indent="446088" algn="just">
              <a:lnSpc>
                <a:spcPct val="114000"/>
              </a:lnSpc>
              <a:buNone/>
            </a:pPr>
            <a:endParaRPr lang="ru-RU" sz="17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lvl="1" indent="446088" algn="just">
              <a:lnSpc>
                <a:spcPct val="114000"/>
              </a:lnSpc>
              <a:buNone/>
            </a:pPr>
            <a:r>
              <a:rPr lang="ru-RU" sz="17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 целью исключения коллизии при налогообложении применять </a:t>
            </a:r>
            <a:r>
              <a:rPr lang="ru-RU" sz="17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ыночный курс</a:t>
            </a:r>
            <a:r>
              <a:rPr lang="ru-RU" sz="17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pPr marL="1588" lvl="1" indent="450850" algn="just">
              <a:lnSpc>
                <a:spcPct val="114000"/>
              </a:lnSpc>
              <a:buFont typeface="Wingdings" pitchFamily="2" charset="2"/>
              <a:buChar char="Ø"/>
            </a:pPr>
            <a:r>
              <a:rPr lang="ru-RU" sz="17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пределяемый в порядке, установленном Национальным банком;</a:t>
            </a:r>
          </a:p>
          <a:p>
            <a:pPr marL="1588" lvl="1" indent="450850" algn="just">
              <a:lnSpc>
                <a:spcPct val="114000"/>
              </a:lnSpc>
              <a:buFont typeface="Wingdings" pitchFamily="2" charset="2"/>
              <a:buChar char="Ø"/>
            </a:pPr>
            <a:r>
              <a:rPr lang="ru-RU" sz="17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ложившийся на дату, установленную в Налоговом кодексе.</a:t>
            </a:r>
          </a:p>
          <a:p>
            <a:pPr marL="1588" lvl="1" indent="450850" algn="just">
              <a:lnSpc>
                <a:spcPct val="114000"/>
              </a:lnSpc>
              <a:buFont typeface="Wingdings" pitchFamily="2" charset="2"/>
              <a:buChar char="Ø"/>
            </a:pPr>
            <a:endParaRPr lang="ru-RU" sz="17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78240" y="6492875"/>
            <a:ext cx="365760" cy="365125"/>
          </a:xfrm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C2516E51-FE87-488E-89CD-0AA203C0492F}" type="slidenum">
              <a:rPr lang="ru-RU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ru-RU" dirty="0">
              <a:solidFill>
                <a:prstClr val="black"/>
              </a:solidFill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14282" y="678606"/>
            <a:ext cx="8715436" cy="1588"/>
          </a:xfrm>
          <a:prstGeom prst="line">
            <a:avLst/>
          </a:prstGeom>
          <a:ln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1"/>
          <p:cNvSpPr txBox="1">
            <a:spLocks/>
          </p:cNvSpPr>
          <p:nvPr/>
        </p:nvSpPr>
        <p:spPr>
          <a:xfrm>
            <a:off x="359532" y="212338"/>
            <a:ext cx="8424936" cy="45199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пределение </a:t>
            </a:r>
            <a:r>
              <a:rPr lang="ru-RU" sz="2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ыночного курса обмена </a:t>
            </a:r>
            <a:r>
              <a:rPr lang="ru-RU" sz="2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алют</a:t>
            </a:r>
            <a:endParaRPr lang="ru-RU" sz="2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0181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32405" y="908720"/>
            <a:ext cx="8496944" cy="4896544"/>
          </a:xfrm>
          <a:solidFill>
            <a:schemeClr val="bg1"/>
          </a:solidFill>
        </p:spPr>
        <p:txBody>
          <a:bodyPr>
            <a:normAutofit/>
          </a:bodyPr>
          <a:lstStyle/>
          <a:p>
            <a:pPr marL="3175" indent="530225" algn="just">
              <a:buNone/>
            </a:pPr>
            <a:r>
              <a:rPr lang="ru-RU" sz="18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Согласно Закону «О разрешениях и уведомлениях» с 1 января 2017 года регистрация индивидуальных предпринимателей переведена с заявительного порядка на уведомительный. </a:t>
            </a:r>
          </a:p>
          <a:p>
            <a:pPr marL="3175" indent="530225" algn="just">
              <a:buNone/>
            </a:pPr>
            <a:endParaRPr lang="ru-RU" sz="1800" dirty="0" smtClean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3175" indent="530225" algn="just">
              <a:buNone/>
            </a:pPr>
            <a:r>
              <a:rPr lang="ru-RU" sz="18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Заявитель обязан направить уведомление в случаях изменения:</a:t>
            </a:r>
          </a:p>
          <a:p>
            <a:pPr marL="3175" indent="530225" algn="just">
              <a:buFontTx/>
              <a:buChar char="-"/>
            </a:pPr>
            <a:r>
              <a:rPr lang="ru-RU" sz="18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юридического адреса;</a:t>
            </a:r>
          </a:p>
          <a:p>
            <a:pPr marL="3175" indent="530225" algn="just">
              <a:buFontTx/>
              <a:buChar char="-"/>
            </a:pPr>
            <a:r>
              <a:rPr lang="ru-RU" sz="18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адреса </a:t>
            </a:r>
            <a:r>
              <a:rPr lang="ru-RU" sz="18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осуществления </a:t>
            </a:r>
            <a:r>
              <a:rPr lang="ru-RU" sz="18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деятельности.</a:t>
            </a:r>
          </a:p>
          <a:p>
            <a:pPr marL="3175" indent="530225" algn="just">
              <a:buNone/>
            </a:pPr>
            <a:r>
              <a:rPr lang="ru-RU" sz="18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ри изменении других регистрационных </a:t>
            </a:r>
            <a:r>
              <a:rPr lang="ru-RU" sz="18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данных </a:t>
            </a:r>
            <a:r>
              <a:rPr lang="ru-RU" sz="18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индивидуального предпринимателя в Налоговом и Предпринимательском кодексах  </a:t>
            </a:r>
            <a:r>
              <a:rPr lang="ru-RU" sz="18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сохранился заявительный порядок.</a:t>
            </a:r>
          </a:p>
          <a:p>
            <a:pPr marL="3175" indent="530225" algn="just">
              <a:buNone/>
            </a:pPr>
            <a:endParaRPr lang="ru-RU" sz="1800" dirty="0" smtClean="0">
              <a:latin typeface="Arial" pitchFamily="34" charset="0"/>
              <a:cs typeface="Arial" pitchFamily="34" charset="0"/>
            </a:endParaRPr>
          </a:p>
          <a:p>
            <a:pPr marL="3175" indent="530225" algn="just">
              <a:buNone/>
            </a:pPr>
            <a:r>
              <a:rPr lang="ru-RU" sz="18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коном предусмотрены изменения в Налоговый и Предпринимательский кодексы о распространении </a:t>
            </a:r>
            <a:r>
              <a:rPr lang="ru-RU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ведомительного порядка также и на внесение изменений в </a:t>
            </a:r>
            <a:r>
              <a:rPr lang="ru-RU" sz="18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ругие регистрационные </a:t>
            </a:r>
            <a:r>
              <a:rPr lang="ru-RU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анные индивидуального </a:t>
            </a:r>
            <a:r>
              <a:rPr lang="ru-RU" sz="18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едпринимателя.</a:t>
            </a:r>
            <a:endParaRPr lang="ru-RU" sz="18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78240" y="6492875"/>
            <a:ext cx="365760" cy="365125"/>
          </a:xfrm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C2516E51-FE87-488E-89CD-0AA203C0492F}" type="slidenum">
              <a:rPr lang="ru-RU"/>
              <a:pPr>
                <a:defRPr/>
              </a:pPr>
              <a:t>11</a:t>
            </a:fld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214282" y="116632"/>
            <a:ext cx="8715436" cy="57606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гистрационный учет налогоплательщиков</a:t>
            </a:r>
            <a:endParaRPr lang="ru-RU" sz="2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68905" y="764704"/>
            <a:ext cx="8606190" cy="0"/>
          </a:xfrm>
          <a:prstGeom prst="line">
            <a:avLst/>
          </a:prstGeom>
          <a:ln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625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3528" y="908720"/>
            <a:ext cx="8496944" cy="4968552"/>
          </a:xfrm>
          <a:solidFill>
            <a:schemeClr val="bg1"/>
          </a:solidFill>
        </p:spPr>
        <p:txBody>
          <a:bodyPr>
            <a:normAutofit/>
          </a:bodyPr>
          <a:lstStyle/>
          <a:p>
            <a:pPr marL="109728" indent="0" algn="just">
              <a:buNone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	</a:t>
            </a:r>
          </a:p>
          <a:p>
            <a:pPr marL="92075" indent="446088" algn="just">
              <a:buNone/>
            </a:pP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ри добровольном приостановлении деятельности налогоплательщика производится снятие его с регистрационного учета по НДС.</a:t>
            </a:r>
            <a:r>
              <a:rPr lang="ru-RU" sz="20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	</a:t>
            </a:r>
            <a:endParaRPr lang="ru-RU" sz="2000" dirty="0" smtClean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92075" indent="446088" algn="just">
              <a:buNone/>
            </a:pPr>
            <a:endParaRPr lang="ru-RU" sz="2000" dirty="0" smtClean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92075" indent="446088" algn="just">
              <a:buNone/>
            </a:pP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ри этом </a:t>
            </a:r>
            <a:r>
              <a:rPr lang="ru-RU" sz="20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о</a:t>
            </a: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тсутствует  право на  отказ в постановке на регистрационный учет по НДС такого налогоплательщика в период приостановления деятельности. </a:t>
            </a:r>
          </a:p>
          <a:p>
            <a:pPr marL="92075" indent="446088" algn="just">
              <a:buNone/>
            </a:pPr>
            <a:endParaRPr lang="ru-RU" sz="2000" dirty="0">
              <a:latin typeface="Arial" pitchFamily="34" charset="0"/>
              <a:cs typeface="Arial" pitchFamily="34" charset="0"/>
            </a:endParaRPr>
          </a:p>
          <a:p>
            <a:pPr marL="92075" indent="446088" algn="just">
              <a:buNone/>
            </a:pP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коном предусмотрена норма </a:t>
            </a:r>
            <a:r>
              <a:rPr lang="ru-RU" sz="2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 </a:t>
            </a: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тказе </a:t>
            </a:r>
            <a:r>
              <a:rPr lang="ru-RU" sz="2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 постановке на регистрационный учет по </a:t>
            </a: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ДС в отношении налогоплательщиков в период, приостановления ими деятельности.</a:t>
            </a:r>
            <a:endParaRPr lang="ru-RU" sz="2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indent="360000" algn="just">
              <a:spcBef>
                <a:spcPts val="1200"/>
              </a:spcBef>
              <a:buAutoNum type="arabicParenR"/>
            </a:pPr>
            <a:endParaRPr lang="ru-RU" sz="16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78240" y="6492875"/>
            <a:ext cx="365760" cy="365125"/>
          </a:xfrm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C2516E51-FE87-488E-89CD-0AA203C0492F}" type="slidenum">
              <a:rPr lang="ru-RU"/>
              <a:pPr>
                <a:defRPr/>
              </a:pPr>
              <a:t>12</a:t>
            </a:fld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214282" y="116632"/>
            <a:ext cx="8715436" cy="64807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становка </a:t>
            </a:r>
            <a:r>
              <a:rPr lang="ru-RU" sz="2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 регистрационный учет </a:t>
            </a:r>
            <a:r>
              <a:rPr lang="ru-RU" sz="2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 НДС</a:t>
            </a:r>
            <a:endParaRPr lang="ru-RU" sz="2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68905" y="788740"/>
            <a:ext cx="8606190" cy="0"/>
          </a:xfrm>
          <a:prstGeom prst="line">
            <a:avLst/>
          </a:prstGeom>
          <a:ln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6073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3528" y="764704"/>
            <a:ext cx="8496944" cy="4680520"/>
          </a:xfrm>
          <a:solidFill>
            <a:schemeClr val="bg1"/>
          </a:solidFill>
        </p:spPr>
        <p:txBody>
          <a:bodyPr>
            <a:normAutofit/>
          </a:bodyPr>
          <a:lstStyle/>
          <a:p>
            <a:pPr marL="0" indent="533400" algn="just">
              <a:buNone/>
            </a:pP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Согласно Закону РК </a:t>
            </a:r>
            <a:r>
              <a:rPr lang="ru-RU" sz="20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«О банках и банковской деятельности в Республике Казахстан» </a:t>
            </a: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реорганизуемый банк вправе не меняя фактически банковский счет осуществить его передачу банку-правопреемнику, который изменит данному счету ИИК и БИК. </a:t>
            </a:r>
          </a:p>
          <a:p>
            <a:pPr marL="0" indent="533400" algn="just">
              <a:buNone/>
            </a:pPr>
            <a:endParaRPr lang="ru-RU" sz="2000" dirty="0" smtClean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0" indent="533400" algn="just">
              <a:buNone/>
            </a:pP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роцедура уведомления банками органов государственных доходов при изменении реквизитов банковского счета клиента не предусмотрена. </a:t>
            </a:r>
          </a:p>
          <a:p>
            <a:pPr marL="0" indent="533400" algn="just">
              <a:buNone/>
            </a:pPr>
            <a:endParaRPr lang="ru-RU" sz="2000" dirty="0">
              <a:latin typeface="Arial" pitchFamily="34" charset="0"/>
              <a:cs typeface="Arial" pitchFamily="34" charset="0"/>
            </a:endParaRPr>
          </a:p>
          <a:p>
            <a:pPr marL="0" indent="533400" algn="just">
              <a:buNone/>
            </a:pP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коном предусмотрена обязанность для банков или организаций, осуществляющих отдельные виды банковских операций, при изменении реквизитов банковского счета уведомлять орган государственных доходов.</a:t>
            </a:r>
            <a:endParaRPr lang="ru-RU" sz="16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78240" y="6492875"/>
            <a:ext cx="365760" cy="365125"/>
          </a:xfrm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C2516E51-FE87-488E-89CD-0AA203C0492F}" type="slidenum">
              <a:rPr lang="ru-RU"/>
              <a:pPr>
                <a:defRPr/>
              </a:pPr>
              <a:t>13</a:t>
            </a:fld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214282" y="116632"/>
            <a:ext cx="8715436" cy="50405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становка </a:t>
            </a:r>
            <a:r>
              <a:rPr lang="ru-RU" sz="2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 регистрационный учет налогоплательщиков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61259" y="764704"/>
            <a:ext cx="8606190" cy="0"/>
          </a:xfrm>
          <a:prstGeom prst="line">
            <a:avLst/>
          </a:prstGeom>
          <a:ln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0063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500034" y="857232"/>
            <a:ext cx="8176422" cy="5092048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446088" algn="just">
              <a:buNone/>
            </a:pPr>
            <a:endParaRPr lang="ru-RU" sz="2000" dirty="0" smtClean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0" indent="446088" algn="just">
              <a:buNone/>
            </a:pP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С 2015 года импортеры алкогольной продукции уплачивают обеспечительный платеж при ввозе из </a:t>
            </a:r>
            <a:r>
              <a:rPr lang="ru-RU" sz="20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стран </a:t>
            </a: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ЕАЭС </a:t>
            </a:r>
            <a:r>
              <a:rPr lang="ru-RU" sz="2000" i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(1 МРП </a:t>
            </a:r>
            <a:r>
              <a:rPr lang="ru-RU" sz="2000" i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на 1 литр алкогольной продукции), </a:t>
            </a:r>
            <a:r>
              <a:rPr lang="ru-RU" sz="20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</a:t>
            </a: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ри импорте из третьих стран уплата не предусмотрена.</a:t>
            </a:r>
          </a:p>
          <a:p>
            <a:pPr marL="0" indent="446088" algn="just">
              <a:buNone/>
            </a:pPr>
            <a:endParaRPr lang="ru-RU" sz="2000" dirty="0" smtClean="0">
              <a:solidFill>
                <a:schemeClr val="accent4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indent="446088" algn="just">
              <a:buNone/>
            </a:pPr>
            <a:endParaRPr lang="ru-RU" sz="2000" dirty="0" smtClean="0">
              <a:solidFill>
                <a:schemeClr val="accent4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indent="446088" algn="just">
              <a:buNone/>
            </a:pP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ля создания равных условий ведения бизнеса для всех импортеров алкогольной продукции предусмотрен обеспечительный платеж на </a:t>
            </a:r>
            <a:r>
              <a:rPr lang="ru-RU" sz="2000" dirty="0" smtClean="0">
                <a:solidFill>
                  <a:schemeClr val="accent4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мпортеров </a:t>
            </a:r>
            <a:r>
              <a:rPr lang="ru-RU" sz="2000" dirty="0">
                <a:solidFill>
                  <a:schemeClr val="accent4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алкогольной продукции  из третьих </a:t>
            </a:r>
            <a:r>
              <a:rPr lang="ru-RU" sz="2000" dirty="0" smtClean="0">
                <a:solidFill>
                  <a:schemeClr val="accent4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тран.</a:t>
            </a:r>
            <a:endParaRPr lang="ru-RU" sz="2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indent="446088" algn="just">
              <a:buNone/>
            </a:pPr>
            <a:endParaRPr lang="ru-RU" sz="20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778240" y="6492875"/>
            <a:ext cx="36576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500034" y="116632"/>
            <a:ext cx="8176422" cy="740600"/>
          </a:xfrm>
        </p:spPr>
        <p:txBody>
          <a:bodyPr>
            <a:norm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2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спространение </a:t>
            </a:r>
            <a:r>
              <a:rPr lang="ru-RU" sz="2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еспечительного платежа на импортеров алкогольной продукции  из третьих стран</a:t>
            </a:r>
            <a:endParaRPr lang="ru-RU" sz="2200" dirty="0" smtClean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500034" y="857232"/>
            <a:ext cx="79208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0593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500034" y="857232"/>
            <a:ext cx="8176422" cy="5524096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446088" algn="just">
              <a:buNone/>
            </a:pPr>
            <a:endParaRPr lang="ru-RU" sz="6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indent="446088" algn="just">
              <a:buNone/>
            </a:pPr>
            <a:endParaRPr lang="ru-RU" sz="2000" dirty="0" smtClean="0">
              <a:solidFill>
                <a:schemeClr val="accent4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indent="446088" algn="just">
              <a:buNone/>
            </a:pP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Действие </a:t>
            </a:r>
            <a:r>
              <a:rPr lang="ru-RU" sz="20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лицензии на производство этилового  </a:t>
            </a: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спирта, водки приостанавливается</a:t>
            </a:r>
            <a:r>
              <a:rPr lang="ru-RU" sz="20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, если </a:t>
            </a: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20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течение квартала использовано менее 40 процентов от производственной </a:t>
            </a: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мощности. Налогоплательщики </a:t>
            </a:r>
            <a:r>
              <a:rPr lang="ru-RU" sz="20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могут не выполнить это требование </a:t>
            </a: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в квартале, в котором получили лицензию.</a:t>
            </a:r>
            <a:endParaRPr lang="ru-RU" sz="2000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0" lvl="1" indent="446088" algn="just">
              <a:lnSpc>
                <a:spcPct val="114000"/>
              </a:lnSpc>
              <a:buNone/>
            </a:pPr>
            <a:endParaRPr lang="ru-RU" sz="2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lvl="1" indent="446088" algn="just">
              <a:lnSpc>
                <a:spcPct val="114000"/>
              </a:lnSpc>
              <a:buNone/>
            </a:pP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коном исключено требование по минимальному использованию  производственных мощностей в квартале</a:t>
            </a:r>
            <a:r>
              <a:rPr lang="ru-RU" sz="2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 котором получена лицензия.</a:t>
            </a:r>
            <a:endParaRPr lang="ru-RU" sz="2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indent="446088" algn="just">
              <a:buNone/>
            </a:pPr>
            <a:endParaRPr lang="ru-RU" sz="1400" dirty="0">
              <a:solidFill>
                <a:schemeClr val="accent4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778240" y="6492875"/>
            <a:ext cx="36576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500034" y="116632"/>
            <a:ext cx="8176422" cy="648072"/>
          </a:xfrm>
        </p:spPr>
        <p:txBody>
          <a:bodyPr>
            <a:normAutofit fontScale="90000"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2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 </a:t>
            </a:r>
            <a:r>
              <a:rPr lang="ru-RU" sz="2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спространение требований об отзыве лицензии при </a:t>
            </a:r>
            <a:r>
              <a:rPr lang="ru-RU" sz="2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соблюдении мощности по производству алкогольной продукции в </a:t>
            </a:r>
            <a:r>
              <a:rPr lang="ru-RU" sz="2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ервый квартал деятельности</a:t>
            </a:r>
            <a:endParaRPr lang="ru-RU" sz="2200" dirty="0" smtClean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500034" y="857232"/>
            <a:ext cx="79208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56517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500034" y="1196752"/>
            <a:ext cx="8104414" cy="4608512"/>
          </a:xfrm>
          <a:solidFill>
            <a:schemeClr val="bg1"/>
          </a:solidFill>
        </p:spPr>
        <p:txBody>
          <a:bodyPr>
            <a:normAutofit/>
          </a:bodyPr>
          <a:lstStyle/>
          <a:p>
            <a:pPr marL="0" indent="446088" algn="just">
              <a:buNone/>
            </a:pP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В действующем законодательстве </a:t>
            </a:r>
            <a:r>
              <a:rPr lang="ru-RU" sz="20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о производству и обороту </a:t>
            </a: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нефтепродуктов отменен запрет на использование резервуаров двумя и более </a:t>
            </a:r>
            <a:r>
              <a:rPr lang="ru-RU" sz="20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физическими и (или) юридическими </a:t>
            </a: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лицами.</a:t>
            </a:r>
          </a:p>
          <a:p>
            <a:pPr marL="0" indent="446088" algn="just">
              <a:buNone/>
            </a:pPr>
            <a:endParaRPr lang="ru-RU" sz="2000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0" indent="446088" algn="just">
              <a:buNone/>
            </a:pP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В Кодексе об административных правонарушениях действует норма о </a:t>
            </a:r>
            <a:r>
              <a:rPr lang="ru-RU" sz="20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ривлечении к административной ответственности </a:t>
            </a: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владельцев при</a:t>
            </a:r>
            <a:r>
              <a:rPr lang="ru-RU" sz="20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ередаче резервуаров одновременно </a:t>
            </a:r>
            <a:r>
              <a:rPr lang="ru-RU" sz="20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двум и более физическим и (или) юридическим </a:t>
            </a: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лицам. </a:t>
            </a:r>
          </a:p>
          <a:p>
            <a:pPr marL="0" indent="446088" algn="just">
              <a:buNone/>
            </a:pPr>
            <a:endParaRPr lang="ru-RU" sz="20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indent="446088" algn="just">
              <a:buNone/>
            </a:pP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 КоАП исключена норма, предусматривающая привлечение </a:t>
            </a:r>
            <a:r>
              <a:rPr lang="ru-RU" sz="2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 административной ответственности </a:t>
            </a: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ладельцев при</a:t>
            </a:r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ередаче </a:t>
            </a: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зервуаров одновременно </a:t>
            </a:r>
            <a:r>
              <a:rPr lang="ru-RU" sz="2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вум и более физическим и (или) юридическим лицам</a:t>
            </a:r>
          </a:p>
          <a:p>
            <a:pPr marL="0" indent="446088" algn="just">
              <a:buFont typeface="Wingdings" pitchFamily="2" charset="2"/>
              <a:buChar char="v"/>
            </a:pPr>
            <a:endParaRPr lang="ru-RU" sz="18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778240" y="6492875"/>
            <a:ext cx="36576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500034" y="116632"/>
            <a:ext cx="8186766" cy="936104"/>
          </a:xfrm>
        </p:spPr>
        <p:txBody>
          <a:bodyPr>
            <a:norm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2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вершенствование законодательства по администрированию подакцизной продукции</a:t>
            </a:r>
            <a:endParaRPr lang="ru-RU" sz="2200" dirty="0" smtClean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500034" y="857232"/>
            <a:ext cx="79208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49619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3528" y="1052736"/>
            <a:ext cx="8440615" cy="4804585"/>
          </a:xfrm>
          <a:solidFill>
            <a:schemeClr val="bg1"/>
          </a:solidFill>
        </p:spPr>
        <p:txBody>
          <a:bodyPr anchor="ctr">
            <a:normAutofit/>
          </a:bodyPr>
          <a:lstStyle/>
          <a:p>
            <a:pPr marL="0" lvl="1" indent="446088" algn="just">
              <a:lnSpc>
                <a:spcPct val="114000"/>
              </a:lnSpc>
              <a:buNone/>
            </a:pPr>
            <a:r>
              <a:rPr lang="ru-RU" sz="17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Уполномоченным юридическим лицом осуществляется реализация ограниченного в распоряжении имущества налогоплательщика в счет налоговой задолженности и задолженности по таможенным платежам и налогам, пеням в порядке, установленном Правительством Республики Казахстан.</a:t>
            </a:r>
          </a:p>
          <a:p>
            <a:pPr marL="0" lvl="1" indent="446088" algn="just">
              <a:lnSpc>
                <a:spcPct val="114000"/>
              </a:lnSpc>
              <a:buNone/>
            </a:pPr>
            <a:endParaRPr lang="ru-RU" sz="1700" dirty="0" smtClean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0" lvl="1" indent="446088" algn="just">
              <a:lnSpc>
                <a:spcPct val="114000"/>
              </a:lnSpc>
              <a:buNone/>
            </a:pPr>
            <a:r>
              <a:rPr lang="ru-RU" sz="17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о действующим Налоговому и Таможенному кодексам после применения всех способов обеспечения и мер взыскания задолженности в бюджет предусмотрена реализация ограниченного в распоряжении имущества налогоплательщика, в том числе с незначительной стоимостью, которые покрывают только расходы на их реализацию и вознаграждение уполномоченного юридического лица. </a:t>
            </a:r>
          </a:p>
          <a:p>
            <a:pPr marL="0" lvl="1" indent="446088" algn="just">
              <a:lnSpc>
                <a:spcPct val="114000"/>
              </a:lnSpc>
              <a:buNone/>
            </a:pPr>
            <a:endParaRPr lang="ru-RU" sz="17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lvl="1" indent="446088" algn="just">
              <a:lnSpc>
                <a:spcPct val="114000"/>
              </a:lnSpc>
              <a:buNone/>
            </a:pPr>
            <a:r>
              <a:rPr lang="ru-RU" sz="17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 целях снижения затрат государства при взыскании задолженности в бюджет предлагается не обращать взыскание на имущество с незначительной стоимостью (общая балансовая стоимость менее 6 - кратного МРП).</a:t>
            </a:r>
          </a:p>
          <a:p>
            <a:pPr marL="1588" lvl="1" indent="450850" algn="just">
              <a:lnSpc>
                <a:spcPct val="114000"/>
              </a:lnSpc>
              <a:buFont typeface="Wingdings" pitchFamily="2" charset="2"/>
              <a:buChar char="Ø"/>
            </a:pPr>
            <a:endParaRPr lang="ru-RU" sz="17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78240" y="6492875"/>
            <a:ext cx="365760" cy="365125"/>
          </a:xfrm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C2516E51-FE87-488E-89CD-0AA203C0492F}" type="slidenum">
              <a:rPr lang="ru-RU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ru-RU" dirty="0">
              <a:solidFill>
                <a:prstClr val="black"/>
              </a:solidFill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179512" y="764704"/>
            <a:ext cx="8715436" cy="1588"/>
          </a:xfrm>
          <a:prstGeom prst="line">
            <a:avLst/>
          </a:prstGeom>
          <a:ln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1"/>
          <p:cNvSpPr txBox="1">
            <a:spLocks/>
          </p:cNvSpPr>
          <p:nvPr/>
        </p:nvSpPr>
        <p:spPr>
          <a:xfrm>
            <a:off x="142844" y="116632"/>
            <a:ext cx="9001156" cy="66802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17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вершенствование взаимодействия с уполномоченным юридическим лицом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17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АО «Компания по реабилитации и управлению активами»)</a:t>
            </a:r>
            <a:endParaRPr lang="ru-RU" sz="17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0052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85720" y="692696"/>
            <a:ext cx="8643998" cy="5544616"/>
          </a:xfrm>
          <a:solidFill>
            <a:schemeClr val="bg1"/>
          </a:solidFill>
          <a:ln>
            <a:noFill/>
          </a:ln>
        </p:spPr>
        <p:txBody>
          <a:bodyPr>
            <a:noAutofit/>
          </a:bodyPr>
          <a:lstStyle/>
          <a:p>
            <a:pPr marL="0" lvl="1" indent="361950" algn="just">
              <a:lnSpc>
                <a:spcPct val="114000"/>
              </a:lnSpc>
              <a:buClr>
                <a:srgbClr val="2DA2BF"/>
              </a:buClr>
              <a:buFont typeface="Wingdings" panose="05000000000000000000" pitchFamily="2" charset="2"/>
              <a:buChar char="v"/>
            </a:pPr>
            <a:r>
              <a:rPr lang="ru-RU" sz="15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Установление </a:t>
            </a:r>
            <a:r>
              <a:rPr lang="ru-RU" sz="15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требования </a:t>
            </a:r>
            <a:r>
              <a:rPr lang="ru-RU" sz="15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к местам досмотра </a:t>
            </a:r>
            <a:r>
              <a:rPr lang="ru-RU" sz="15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товаров</a:t>
            </a:r>
            <a:r>
              <a:rPr lang="en-US" sz="15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в части четкого обозначения периметра </a:t>
            </a:r>
            <a:r>
              <a:rPr lang="ru-RU" sz="15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еста досмотра </a:t>
            </a:r>
            <a:r>
              <a:rPr lang="ru-RU" sz="15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в зоне </a:t>
            </a:r>
            <a:r>
              <a:rPr lang="ru-RU" sz="1500" b="1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росматриваемости</a:t>
            </a:r>
            <a:r>
              <a:rPr lang="ru-RU" sz="15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средств видеонаблюдения</a:t>
            </a:r>
            <a:endParaRPr lang="en-US" sz="15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0" lvl="1" indent="361950" algn="just">
              <a:lnSpc>
                <a:spcPct val="114000"/>
              </a:lnSpc>
              <a:buClr>
                <a:srgbClr val="2DA2BF"/>
              </a:buClr>
              <a:buNone/>
            </a:pPr>
            <a:r>
              <a:rPr lang="ru-RU" sz="15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Цель:</a:t>
            </a:r>
            <a:r>
              <a:rPr lang="ru-RU" sz="15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dirty="0" smtClean="0">
                <a:latin typeface="Arial" pitchFamily="34" charset="0"/>
                <a:cs typeface="Arial" pitchFamily="34" charset="0"/>
              </a:rPr>
              <a:t>создание </a:t>
            </a:r>
            <a:r>
              <a:rPr lang="ru-RU" sz="1500" dirty="0">
                <a:latin typeface="Arial" pitchFamily="34" charset="0"/>
                <a:cs typeface="Arial" pitchFamily="34" charset="0"/>
              </a:rPr>
              <a:t>прозрачности при совершении таможенных операций и </a:t>
            </a:r>
            <a:r>
              <a:rPr lang="ru-RU" sz="1500" dirty="0" smtClean="0">
                <a:latin typeface="Arial" pitchFamily="34" charset="0"/>
                <a:cs typeface="Arial" pitchFamily="34" charset="0"/>
              </a:rPr>
              <a:t>исключение </a:t>
            </a:r>
            <a:r>
              <a:rPr lang="ru-RU" sz="1500" dirty="0">
                <a:latin typeface="Arial" pitchFamily="34" charset="0"/>
                <a:cs typeface="Arial" pitchFamily="34" charset="0"/>
              </a:rPr>
              <a:t>коррупционных рисков при проведении досмотра на </a:t>
            </a:r>
            <a:r>
              <a:rPr lang="ru-RU" sz="1500" dirty="0" smtClean="0">
                <a:latin typeface="Arial" pitchFamily="34" charset="0"/>
                <a:cs typeface="Arial" pitchFamily="34" charset="0"/>
              </a:rPr>
              <a:t>СВХ и </a:t>
            </a:r>
            <a:r>
              <a:rPr lang="ru-RU" sz="1500" dirty="0">
                <a:latin typeface="Arial" pitchFamily="34" charset="0"/>
                <a:cs typeface="Arial" pitchFamily="34" charset="0"/>
              </a:rPr>
              <a:t>таможенных </a:t>
            </a:r>
            <a:r>
              <a:rPr lang="ru-RU" sz="1500" dirty="0" smtClean="0">
                <a:latin typeface="Arial" pitchFamily="34" charset="0"/>
                <a:cs typeface="Arial" pitchFamily="34" charset="0"/>
              </a:rPr>
              <a:t>складах.</a:t>
            </a:r>
          </a:p>
          <a:p>
            <a:pPr marL="0" lvl="1" indent="0" algn="just">
              <a:lnSpc>
                <a:spcPct val="114000"/>
              </a:lnSpc>
              <a:buClr>
                <a:srgbClr val="2DA2BF"/>
              </a:buClr>
              <a:buNone/>
            </a:pPr>
            <a:endParaRPr lang="ru-RU" sz="800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0" lvl="1" indent="361950" algn="just">
              <a:lnSpc>
                <a:spcPct val="114000"/>
              </a:lnSpc>
              <a:buClr>
                <a:srgbClr val="2DA2BF"/>
              </a:buClr>
              <a:buFont typeface="Wingdings" panose="05000000000000000000" pitchFamily="2" charset="2"/>
              <a:buChar char="v"/>
            </a:pPr>
            <a:r>
              <a:rPr lang="ru-RU" sz="15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Установление компетенции на </a:t>
            </a:r>
            <a:r>
              <a:rPr lang="ru-RU" sz="15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пределение особенностей проведения таможенного досмотра, </a:t>
            </a:r>
            <a:r>
              <a:rPr lang="ru-RU" sz="15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смотра.</a:t>
            </a:r>
            <a:endParaRPr lang="ru-RU" sz="15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0" lvl="1" indent="361950" algn="just">
              <a:lnSpc>
                <a:spcPct val="114000"/>
              </a:lnSpc>
              <a:buClr>
                <a:srgbClr val="2DA2BF"/>
              </a:buClr>
              <a:buNone/>
            </a:pPr>
            <a:r>
              <a:rPr lang="ru-RU" sz="15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Цель: </a:t>
            </a:r>
            <a:r>
              <a:rPr lang="ru-RU" sz="15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в целях прозрачности </a:t>
            </a:r>
            <a:r>
              <a:rPr lang="ru-RU" sz="15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овершения таможенных операций и детализации действий при проведении таможенного </a:t>
            </a:r>
            <a:r>
              <a:rPr lang="ru-RU" sz="15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смотра, досмотра.</a:t>
            </a:r>
          </a:p>
          <a:p>
            <a:pPr marL="0" lvl="1" indent="361950" algn="just">
              <a:lnSpc>
                <a:spcPct val="114000"/>
              </a:lnSpc>
              <a:buClr>
                <a:srgbClr val="2DA2BF"/>
              </a:buClr>
              <a:buNone/>
            </a:pPr>
            <a:endParaRPr lang="ru-RU" sz="8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0" lvl="1" indent="361950" algn="just">
              <a:lnSpc>
                <a:spcPct val="114000"/>
              </a:lnSpc>
              <a:buClr>
                <a:srgbClr val="2DA2BF"/>
              </a:buClr>
              <a:buFont typeface="Wingdings" panose="05000000000000000000" pitchFamily="2" charset="2"/>
              <a:buChar char="v"/>
            </a:pPr>
            <a:r>
              <a:rPr lang="ru-RU" sz="15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пределение </a:t>
            </a:r>
            <a:r>
              <a:rPr lang="ru-RU" sz="15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термина</a:t>
            </a:r>
            <a:r>
              <a:rPr lang="ru-RU" sz="15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«внешнеэкономическая сделка»</a:t>
            </a:r>
            <a:r>
              <a:rPr lang="ru-RU" sz="15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5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0" lvl="1" indent="361950" algn="just">
              <a:lnSpc>
                <a:spcPct val="114000"/>
              </a:lnSpc>
              <a:buClr>
                <a:srgbClr val="2DA2BF"/>
              </a:buClr>
              <a:buNone/>
            </a:pPr>
            <a:r>
              <a:rPr lang="ru-RU" sz="15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Цель: </a:t>
            </a:r>
            <a:r>
              <a:rPr lang="ru-RU" sz="15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внесение ясности для участников ВЭД при определении декларанта </a:t>
            </a:r>
            <a:r>
              <a:rPr lang="ru-RU" sz="15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о сделкам, заключенным между лицами разных государств-членов ЕАЭС, в рамках которых товары перемещаются через таможенную границу.</a:t>
            </a:r>
          </a:p>
          <a:p>
            <a:pPr marL="0" lvl="1" indent="361950" algn="just">
              <a:lnSpc>
                <a:spcPct val="114000"/>
              </a:lnSpc>
              <a:buClr>
                <a:srgbClr val="2DA2BF"/>
              </a:buClr>
              <a:buNone/>
            </a:pPr>
            <a:endParaRPr lang="ru-RU" sz="800" dirty="0" smtClean="0">
              <a:latin typeface="Arial" pitchFamily="34" charset="0"/>
              <a:cs typeface="Arial" pitchFamily="34" charset="0"/>
            </a:endParaRPr>
          </a:p>
          <a:p>
            <a:pPr marL="0" lvl="1" indent="361950" algn="just">
              <a:lnSpc>
                <a:spcPct val="114000"/>
              </a:lnSpc>
              <a:buClr>
                <a:srgbClr val="2DA2BF"/>
              </a:buClr>
              <a:buFont typeface="Wingdings" panose="05000000000000000000" pitchFamily="2" charset="2"/>
              <a:buChar char="v"/>
            </a:pPr>
            <a:r>
              <a:rPr lang="ru-RU" sz="1500" dirty="0" smtClean="0">
                <a:latin typeface="Arial" pitchFamily="34" charset="0"/>
                <a:cs typeface="Arial" pitchFamily="34" charset="0"/>
              </a:rPr>
              <a:t>Уточнение основания продления сроков </a:t>
            </a:r>
            <a:r>
              <a:rPr lang="ru-RU" sz="1500" dirty="0">
                <a:latin typeface="Arial" pitchFamily="34" charset="0"/>
                <a:cs typeface="Arial" pitchFamily="34" charset="0"/>
              </a:rPr>
              <a:t>рассмотрения </a:t>
            </a:r>
            <a:r>
              <a:rPr lang="ru-RU" sz="1500" dirty="0" smtClean="0">
                <a:latin typeface="Arial" pitchFamily="34" charset="0"/>
                <a:cs typeface="Arial" pitchFamily="34" charset="0"/>
              </a:rPr>
              <a:t>заявления </a:t>
            </a:r>
            <a:r>
              <a:rPr lang="ru-RU" sz="1500" dirty="0">
                <a:latin typeface="Arial" pitchFamily="34" charset="0"/>
                <a:cs typeface="Arial" pitchFamily="34" charset="0"/>
              </a:rPr>
              <a:t>о включении объектов интеллектуальной собственности в таможенный </a:t>
            </a:r>
            <a:r>
              <a:rPr lang="ru-RU" sz="1500" dirty="0" smtClean="0">
                <a:latin typeface="Arial" pitchFamily="34" charset="0"/>
                <a:cs typeface="Arial" pitchFamily="34" charset="0"/>
              </a:rPr>
              <a:t>реестр (</a:t>
            </a:r>
            <a:r>
              <a:rPr lang="ru-RU" sz="1500" i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только в случае направления </a:t>
            </a:r>
            <a:r>
              <a:rPr lang="ru-RU" sz="1500" i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запроса третьим лицам и (или) иным государственным </a:t>
            </a:r>
            <a:r>
              <a:rPr lang="ru-RU" sz="1500" i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органам</a:t>
            </a:r>
            <a:r>
              <a:rPr lang="ru-RU" sz="15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</a:t>
            </a:r>
            <a:r>
              <a:rPr lang="ru-RU" sz="1500" i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.</a:t>
            </a:r>
            <a:endParaRPr lang="ru-RU" sz="1500" dirty="0" smtClean="0">
              <a:latin typeface="Arial" pitchFamily="34" charset="0"/>
              <a:cs typeface="Arial" pitchFamily="34" charset="0"/>
            </a:endParaRPr>
          </a:p>
          <a:p>
            <a:pPr marL="0" lvl="1" indent="361950" algn="just">
              <a:lnSpc>
                <a:spcPct val="114000"/>
              </a:lnSpc>
              <a:buClr>
                <a:srgbClr val="2DA2BF"/>
              </a:buClr>
              <a:buNone/>
            </a:pPr>
            <a:r>
              <a:rPr lang="ru-RU" sz="15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Цель: </a:t>
            </a:r>
            <a:r>
              <a:rPr lang="ru-RU" sz="15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установление конкретных оснований для продления сроков рассмотрения заявлений</a:t>
            </a:r>
            <a:r>
              <a:rPr lang="ru-RU" sz="15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</a:t>
            </a:r>
            <a:endParaRPr lang="ru-RU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78240" y="6492875"/>
            <a:ext cx="365760" cy="365125"/>
          </a:xfrm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C2516E51-FE87-488E-89CD-0AA203C0492F}" type="slidenum">
              <a:rPr lang="ru-RU"/>
              <a:pPr>
                <a:defRPr/>
              </a:pPr>
              <a:t>18</a:t>
            </a:fld>
            <a:endParaRPr lang="ru-RU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107504" y="548680"/>
            <a:ext cx="8715436" cy="1588"/>
          </a:xfrm>
          <a:prstGeom prst="line">
            <a:avLst/>
          </a:prstGeom>
          <a:ln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1"/>
          <p:cNvSpPr txBox="1">
            <a:spLocks/>
          </p:cNvSpPr>
          <p:nvPr/>
        </p:nvSpPr>
        <p:spPr>
          <a:xfrm>
            <a:off x="0" y="-171400"/>
            <a:ext cx="9144000" cy="71435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</a:t>
            </a:r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вершенствование таможенного администрирования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6260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85720" y="836712"/>
            <a:ext cx="8643998" cy="5328592"/>
          </a:xfrm>
          <a:solidFill>
            <a:schemeClr val="bg1"/>
          </a:solidFill>
          <a:ln>
            <a:noFill/>
          </a:ln>
        </p:spPr>
        <p:txBody>
          <a:bodyPr>
            <a:noAutofit/>
          </a:bodyPr>
          <a:lstStyle/>
          <a:p>
            <a:pPr marL="0" lvl="1" indent="341313" algn="just">
              <a:lnSpc>
                <a:spcPct val="114000"/>
              </a:lnSpc>
              <a:buClr>
                <a:srgbClr val="2DA2BF"/>
              </a:buClr>
              <a:buFont typeface="Wingdings" panose="05000000000000000000" pitchFamily="2" charset="2"/>
              <a:buChar char="v"/>
            </a:pPr>
            <a:r>
              <a:rPr lang="ru-RU" sz="15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Уточнение </a:t>
            </a:r>
            <a:r>
              <a:rPr lang="ru-RU" sz="15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ериода, </a:t>
            </a:r>
            <a:r>
              <a:rPr lang="ru-RU" sz="15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за который проводится выездная таможенная проверка </a:t>
            </a:r>
            <a:r>
              <a:rPr lang="ru-RU" sz="15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на соответствие условиям включения в реестр уполномоченных экономических операторов </a:t>
            </a:r>
            <a:r>
              <a:rPr lang="ru-RU" sz="15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(последние </a:t>
            </a:r>
            <a:r>
              <a:rPr lang="ru-RU" sz="1500" i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5 лет </a:t>
            </a:r>
            <a:r>
              <a:rPr lang="ru-RU" sz="15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до дня регистрации заявления)</a:t>
            </a:r>
            <a:r>
              <a:rPr lang="ru-RU" sz="15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5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 учетом периода </a:t>
            </a:r>
            <a:r>
              <a:rPr lang="ru-RU" sz="15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анее проведенных </a:t>
            </a:r>
            <a:r>
              <a:rPr lang="ru-RU" sz="15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роверок</a:t>
            </a:r>
            <a:r>
              <a:rPr lang="ru-RU" sz="15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</a:t>
            </a:r>
            <a:endParaRPr lang="ru-RU" sz="15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0" lvl="1" indent="361950" algn="just">
              <a:lnSpc>
                <a:spcPct val="114000"/>
              </a:lnSpc>
              <a:buClr>
                <a:srgbClr val="2DA2BF"/>
              </a:buClr>
              <a:buNone/>
            </a:pPr>
            <a:r>
              <a:rPr lang="ru-RU" sz="15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Цель: </a:t>
            </a:r>
            <a:r>
              <a:rPr lang="ru-RU" sz="15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пределение периода времени, по которому проводится выездная таможенная проверка.</a:t>
            </a:r>
            <a:endParaRPr lang="ru-RU" sz="15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0" lvl="1" indent="341313" algn="just">
              <a:lnSpc>
                <a:spcPct val="114000"/>
              </a:lnSpc>
              <a:buClr>
                <a:srgbClr val="2DA2BF"/>
              </a:buClr>
              <a:buFont typeface="Wingdings" panose="05000000000000000000" pitchFamily="2" charset="2"/>
              <a:buChar char="v"/>
            </a:pPr>
            <a:endParaRPr lang="ru-RU" sz="8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0" lvl="1" indent="341313" algn="just">
              <a:lnSpc>
                <a:spcPct val="114000"/>
              </a:lnSpc>
              <a:buClr>
                <a:srgbClr val="2DA2BF"/>
              </a:buClr>
              <a:buFont typeface="Wingdings" panose="05000000000000000000" pitchFamily="2" charset="2"/>
              <a:buChar char="v"/>
            </a:pPr>
            <a:r>
              <a:rPr lang="ru-RU" sz="15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окращение количества </a:t>
            </a:r>
            <a:r>
              <a:rPr lang="ru-RU" sz="15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татей КоАП РК, </a:t>
            </a:r>
            <a:r>
              <a:rPr lang="ru-RU" sz="15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являющихся </a:t>
            </a:r>
            <a:r>
              <a:rPr lang="ru-RU" sz="15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снованием для отказа </a:t>
            </a:r>
            <a:r>
              <a:rPr lang="ru-RU" sz="15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во включение в </a:t>
            </a:r>
            <a:r>
              <a:rPr lang="ru-RU" sz="15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естр уполномоченных экономических </a:t>
            </a:r>
            <a:r>
              <a:rPr lang="ru-RU" sz="15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ператоров, </a:t>
            </a:r>
            <a:r>
              <a:rPr lang="ru-RU" sz="15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а </a:t>
            </a:r>
            <a:r>
              <a:rPr lang="ru-RU" sz="15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для отзыва </a:t>
            </a:r>
            <a:r>
              <a:rPr lang="ru-RU" sz="15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видетельства </a:t>
            </a:r>
            <a:r>
              <a:rPr lang="ru-RU" sz="15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 </a:t>
            </a:r>
            <a:r>
              <a:rPr lang="ru-RU" sz="15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включении в реестр. </a:t>
            </a:r>
          </a:p>
          <a:p>
            <a:pPr marL="0" lvl="1" indent="361950" algn="just">
              <a:lnSpc>
                <a:spcPct val="114000"/>
              </a:lnSpc>
              <a:buClr>
                <a:srgbClr val="2DA2BF"/>
              </a:buClr>
              <a:buNone/>
            </a:pPr>
            <a:r>
              <a:rPr lang="ru-RU" sz="15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Цель: </a:t>
            </a:r>
            <a:r>
              <a:rPr lang="ru-RU" sz="15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упрощение условий для получения статуса уполномоченного экономического оператора.</a:t>
            </a:r>
            <a:endParaRPr lang="ru-RU" sz="15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0" lvl="1" indent="341313" algn="just">
              <a:lnSpc>
                <a:spcPct val="114000"/>
              </a:lnSpc>
              <a:buClr>
                <a:srgbClr val="2DA2BF"/>
              </a:buClr>
              <a:buFont typeface="Wingdings" panose="05000000000000000000" pitchFamily="2" charset="2"/>
              <a:buChar char="v"/>
            </a:pPr>
            <a:endParaRPr lang="ru-RU" sz="8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0" lvl="1" indent="341313" algn="just">
              <a:lnSpc>
                <a:spcPct val="114000"/>
              </a:lnSpc>
              <a:buClr>
                <a:srgbClr val="2DA2BF"/>
              </a:buClr>
              <a:buFont typeface="Wingdings" panose="05000000000000000000" pitchFamily="2" charset="2"/>
              <a:buChar char="v"/>
            </a:pPr>
            <a:r>
              <a:rPr lang="ru-RU" sz="15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Закрепление возможности использования </a:t>
            </a:r>
            <a:r>
              <a:rPr lang="ru-RU" sz="15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познавательного знака </a:t>
            </a:r>
            <a:r>
              <a:rPr lang="ru-RU" sz="15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для обозначения транспортных средств международной перевозки уполномоченных экономических операторов</a:t>
            </a:r>
            <a:r>
              <a:rPr lang="ru-RU" sz="15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500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0" lvl="1" indent="361950" algn="just">
              <a:lnSpc>
                <a:spcPct val="114000"/>
              </a:lnSpc>
              <a:buClr>
                <a:srgbClr val="2DA2BF"/>
              </a:buClr>
              <a:buNone/>
            </a:pPr>
            <a:r>
              <a:rPr lang="ru-RU" sz="15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Цель: </a:t>
            </a:r>
            <a:r>
              <a:rPr lang="ru-RU" sz="15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риоритетное перемещение через таможенную границу ЕАЭС транспортных средств уполномоченных экономических операторов.</a:t>
            </a:r>
          </a:p>
          <a:p>
            <a:pPr marL="0" lvl="1" indent="361950" algn="just">
              <a:lnSpc>
                <a:spcPct val="114000"/>
              </a:lnSpc>
              <a:buClr>
                <a:srgbClr val="2DA2BF"/>
              </a:buClr>
              <a:buNone/>
            </a:pPr>
            <a:endParaRPr lang="ru-RU" sz="16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0" lvl="1" indent="361950" algn="just">
              <a:lnSpc>
                <a:spcPct val="114000"/>
              </a:lnSpc>
              <a:buClr>
                <a:srgbClr val="2DA2BF"/>
              </a:buClr>
              <a:buNone/>
            </a:pPr>
            <a:endParaRPr lang="ru-RU" sz="16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0" lvl="1" indent="361950" algn="just">
              <a:lnSpc>
                <a:spcPct val="114000"/>
              </a:lnSpc>
              <a:buClr>
                <a:srgbClr val="2DA2BF"/>
              </a:buClr>
              <a:buNone/>
            </a:pPr>
            <a:endParaRPr lang="ru-RU" sz="17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0" lvl="1" indent="341313" algn="just">
              <a:lnSpc>
                <a:spcPct val="114000"/>
              </a:lnSpc>
              <a:buClr>
                <a:srgbClr val="2DA2BF"/>
              </a:buClr>
              <a:buFont typeface="Wingdings" panose="05000000000000000000" pitchFamily="2" charset="2"/>
              <a:buChar char="v"/>
            </a:pPr>
            <a:endParaRPr lang="ru-RU" sz="1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78240" y="6492875"/>
            <a:ext cx="365760" cy="365125"/>
          </a:xfrm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C2516E51-FE87-488E-89CD-0AA203C0492F}" type="slidenum">
              <a:rPr lang="ru-RU"/>
              <a:pPr>
                <a:defRPr/>
              </a:pPr>
              <a:t>19</a:t>
            </a:fld>
            <a:endParaRPr lang="ru-RU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142844" y="764704"/>
            <a:ext cx="8715436" cy="1588"/>
          </a:xfrm>
          <a:prstGeom prst="line">
            <a:avLst/>
          </a:prstGeom>
          <a:ln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1"/>
          <p:cNvSpPr txBox="1">
            <a:spLocks/>
          </p:cNvSpPr>
          <p:nvPr/>
        </p:nvSpPr>
        <p:spPr>
          <a:xfrm>
            <a:off x="0" y="44624"/>
            <a:ext cx="9144000" cy="71435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вершенствование деятельности </a:t>
            </a:r>
          </a:p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полномоченных экономических операторов</a:t>
            </a:r>
            <a:endParaRPr lang="ru-RU" sz="20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4104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78240" y="6492875"/>
            <a:ext cx="365760" cy="365125"/>
          </a:xfrm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C2516E51-FE87-488E-89CD-0AA203C0492F}" type="slidenum">
              <a:rPr lang="ru-RU"/>
              <a:pPr>
                <a:defRPr/>
              </a:pPr>
              <a:t>2</a:t>
            </a:fld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214282" y="116632"/>
            <a:ext cx="8715436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endParaRPr lang="ru-RU" sz="1600" b="1" dirty="0" smtClean="0">
              <a:solidFill>
                <a:srgbClr val="002060"/>
              </a:solidFill>
              <a:latin typeface="Arial Narrow" pitchFamily="34" charset="0"/>
              <a:cs typeface="Arial" pitchFamily="34" charset="0"/>
            </a:endParaRPr>
          </a:p>
          <a:p>
            <a:pPr algn="ctr"/>
            <a:r>
              <a:rPr lang="ru-RU" b="1" dirty="0" smtClean="0">
                <a:solidFill>
                  <a:srgbClr val="002060"/>
                </a:solidFill>
                <a:latin typeface="Arial Black" pitchFamily="34" charset="0"/>
                <a:cs typeface="Arial" pitchFamily="34" charset="0"/>
              </a:rPr>
              <a:t>Досудебное урегулирование налоговых </a:t>
            </a:r>
            <a:r>
              <a:rPr lang="ru-RU" b="1" dirty="0">
                <a:solidFill>
                  <a:srgbClr val="002060"/>
                </a:solidFill>
                <a:latin typeface="Arial Black" pitchFamily="34" charset="0"/>
                <a:cs typeface="Arial" pitchFamily="34" charset="0"/>
              </a:rPr>
              <a:t>и таможенных </a:t>
            </a:r>
            <a:r>
              <a:rPr lang="ru-RU" b="1" dirty="0" smtClean="0">
                <a:solidFill>
                  <a:srgbClr val="002060"/>
                </a:solidFill>
                <a:latin typeface="Arial Black" pitchFamily="34" charset="0"/>
                <a:cs typeface="Arial" pitchFamily="34" charset="0"/>
              </a:rPr>
              <a:t>споров и </a:t>
            </a:r>
          </a:p>
          <a:p>
            <a:pPr algn="ctr"/>
            <a:r>
              <a:rPr lang="ru-RU" b="1" dirty="0" smtClean="0">
                <a:solidFill>
                  <a:srgbClr val="002060"/>
                </a:solidFill>
                <a:latin typeface="Arial Black" pitchFamily="34" charset="0"/>
                <a:cs typeface="Arial" pitchFamily="34" charset="0"/>
              </a:rPr>
              <a:t>рассмотрение предварительного </a:t>
            </a:r>
            <a:r>
              <a:rPr lang="ru-RU" b="1" dirty="0">
                <a:solidFill>
                  <a:srgbClr val="002060"/>
                </a:solidFill>
                <a:latin typeface="Arial Black" pitchFamily="34" charset="0"/>
                <a:cs typeface="Arial" pitchFamily="34" charset="0"/>
              </a:rPr>
              <a:t>акта </a:t>
            </a:r>
            <a:r>
              <a:rPr lang="ru-RU" b="1" dirty="0" smtClean="0">
                <a:solidFill>
                  <a:srgbClr val="002060"/>
                </a:solidFill>
                <a:latin typeface="Arial Black" pitchFamily="34" charset="0"/>
                <a:cs typeface="Arial" pitchFamily="34" charset="0"/>
              </a:rPr>
              <a:t>проверки</a:t>
            </a:r>
            <a:endParaRPr lang="ru-RU" b="1" dirty="0">
              <a:solidFill>
                <a:srgbClr val="002060"/>
              </a:solidFill>
              <a:latin typeface="Arial Black" pitchFamily="34" charset="0"/>
              <a:cs typeface="Arial" pitchFamily="34" charset="0"/>
            </a:endParaRPr>
          </a:p>
          <a:p>
            <a:pPr algn="ctr"/>
            <a:endParaRPr lang="ru-RU" sz="1600" b="1" dirty="0">
              <a:solidFill>
                <a:srgbClr val="002060"/>
              </a:solidFill>
              <a:latin typeface="Arial Narrow" pitchFamily="34" charset="0"/>
              <a:cs typeface="Arial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333871" y="783459"/>
            <a:ext cx="8715436" cy="1588"/>
          </a:xfrm>
          <a:prstGeom prst="line">
            <a:avLst/>
          </a:prstGeom>
          <a:ln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214282" y="764704"/>
            <a:ext cx="8444369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8775" algn="just">
              <a:defRPr/>
            </a:pP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358775" algn="just">
              <a:defRPr/>
            </a:pPr>
            <a:r>
              <a:rPr lang="ru-RU" sz="19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ассмотрение жалоб субъектов предпринимательства </a:t>
            </a:r>
            <a:r>
              <a:rPr lang="ru-RU" sz="19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уведомление о результатах проверки </a:t>
            </a:r>
            <a:r>
              <a:rPr lang="ru-RU" sz="19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(или) уведомление </a:t>
            </a:r>
            <a:r>
              <a:rPr lang="ru-RU" sz="19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 устранении нарушений </a:t>
            </a:r>
            <a:r>
              <a:rPr lang="ru-RU" sz="19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изводится Комитетом государственных доходов  </a:t>
            </a:r>
            <a:r>
              <a:rPr lang="ru-RU" sz="19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ли судом</a:t>
            </a:r>
            <a:r>
              <a:rPr lang="ru-RU" sz="19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9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8775" algn="just">
              <a:defRPr/>
            </a:pPr>
            <a:r>
              <a:rPr lang="ru-RU" sz="19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варительное </a:t>
            </a:r>
            <a:r>
              <a:rPr lang="ru-RU" sz="19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смотрение проекта акта проверки </a:t>
            </a:r>
            <a:r>
              <a:rPr lang="ru-RU" sz="19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предусмотрено</a:t>
            </a:r>
            <a:r>
              <a:rPr lang="ru-RU" sz="19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9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8775" algn="just">
              <a:defRPr/>
            </a:pPr>
            <a:endParaRPr lang="ru-RU" sz="19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8775" algn="just">
              <a:defRPr/>
            </a:pPr>
            <a:r>
              <a:rPr lang="ru-RU" sz="19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ительством РК приняты предложения Национальной палаты предпринимателей Республики Казахстан «</a:t>
            </a:r>
            <a:r>
              <a:rPr lang="ru-RU" sz="1900" dirty="0" err="1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тамекен</a:t>
            </a:r>
            <a:r>
              <a:rPr lang="ru-RU" sz="19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 в части введения нового механизма досудебного урегулирования налоговых и таможенных споров и рассмотрения возражений на проект акта проверки.</a:t>
            </a:r>
          </a:p>
          <a:p>
            <a:pPr indent="358775" algn="just">
              <a:defRPr/>
            </a:pPr>
            <a:endParaRPr lang="ru-RU" sz="19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533400" algn="just"/>
            <a:r>
              <a:rPr lang="ru-RU" sz="19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9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усмотрено внедрение института </a:t>
            </a:r>
            <a:r>
              <a:rPr lang="ru-RU" sz="19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удебного урегулирования споров </a:t>
            </a:r>
            <a:r>
              <a:rPr lang="ru-RU" sz="19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1 июля 2017 года, в части:</a:t>
            </a:r>
          </a:p>
          <a:p>
            <a:pPr indent="533400" algn="just"/>
            <a:r>
              <a:rPr lang="ru-RU" sz="19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 рассмотрения  возражений субъектов предпринимательства  </a:t>
            </a:r>
            <a:r>
              <a:rPr lang="ru-RU" sz="19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предварительный акт </a:t>
            </a:r>
            <a:r>
              <a:rPr lang="ru-RU" sz="19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и;</a:t>
            </a:r>
          </a:p>
          <a:p>
            <a:pPr indent="533400" algn="just"/>
            <a:r>
              <a:rPr lang="ru-RU" sz="19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  создания Апелляционной комиссии при Министерстве финансов для рассмотрения жалоб на результаты проверок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5190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67544" y="980728"/>
            <a:ext cx="8136904" cy="4536504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lvl="1" indent="341313" algn="just">
              <a:lnSpc>
                <a:spcPct val="114000"/>
              </a:lnSpc>
              <a:buFont typeface="Wingdings" panose="05000000000000000000" pitchFamily="2" charset="2"/>
              <a:buChar char="v"/>
            </a:pPr>
            <a:r>
              <a:rPr lang="ru-RU" sz="2000" dirty="0" smtClean="0">
                <a:latin typeface="Arial" pitchFamily="34" charset="0"/>
                <a:cs typeface="Arial" pitchFamily="34" charset="0"/>
              </a:rPr>
              <a:t>Н</a:t>
            </a: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е помещение под процедуру </a:t>
            </a:r>
            <a:r>
              <a:rPr lang="ru-RU" sz="2000" b="1" dirty="0">
                <a:latin typeface="Arial" pitchFamily="34" charset="0"/>
                <a:cs typeface="Arial" pitchFamily="34" charset="0"/>
              </a:rPr>
              <a:t>транзита </a:t>
            </a:r>
            <a:r>
              <a:rPr lang="ru-RU" sz="2000" dirty="0" smtClean="0">
                <a:latin typeface="Arial" pitchFamily="34" charset="0"/>
                <a:cs typeface="Arial" pitchFamily="34" charset="0"/>
              </a:rPr>
              <a:t>иностранных товаров, перемещаемых </a:t>
            </a: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в </a:t>
            </a:r>
            <a:r>
              <a:rPr lang="ru-RU" sz="2000" b="1" dirty="0">
                <a:latin typeface="Arial" pitchFamily="34" charset="0"/>
                <a:cs typeface="Arial" pitchFamily="34" charset="0"/>
              </a:rPr>
              <a:t>пределах </a:t>
            </a: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границы </a:t>
            </a:r>
            <a:r>
              <a:rPr lang="ru-RU" sz="2000" b="1" dirty="0">
                <a:latin typeface="Arial" pitchFamily="34" charset="0"/>
                <a:cs typeface="Arial" pitchFamily="34" charset="0"/>
              </a:rPr>
              <a:t>одного населенного </a:t>
            </a: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пункта</a:t>
            </a:r>
            <a:r>
              <a:rPr lang="ru-RU" sz="2000" dirty="0" smtClean="0">
                <a:latin typeface="Arial" pitchFamily="34" charset="0"/>
                <a:cs typeface="Arial" pitchFamily="34" charset="0"/>
              </a:rPr>
              <a:t> (</a:t>
            </a:r>
            <a:r>
              <a:rPr lang="ru-RU" sz="2000" i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например, от аэропорта до города</a:t>
            </a:r>
            <a:r>
              <a:rPr lang="ru-RU" sz="2000" dirty="0" smtClean="0">
                <a:latin typeface="Arial" pitchFamily="34" charset="0"/>
                <a:cs typeface="Arial" pitchFamily="34" charset="0"/>
              </a:rPr>
              <a:t>).</a:t>
            </a:r>
          </a:p>
          <a:p>
            <a:pPr marL="0" lvl="1" indent="361950" algn="just">
              <a:lnSpc>
                <a:spcPct val="114000"/>
              </a:lnSpc>
              <a:buClr>
                <a:srgbClr val="2DA2BF"/>
              </a:buClr>
              <a:buNone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Цель: </a:t>
            </a: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ускорение доставки товаров, исключение издержек участников внешнеэкономической деятельности.</a:t>
            </a:r>
          </a:p>
          <a:p>
            <a:pPr marL="0" lvl="1" indent="361950" algn="just">
              <a:lnSpc>
                <a:spcPct val="114000"/>
              </a:lnSpc>
              <a:buClr>
                <a:srgbClr val="2DA2BF"/>
              </a:buClr>
              <a:buNone/>
            </a:pPr>
            <a:endParaRPr lang="ru-RU" sz="2000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0" lvl="1" indent="361950" algn="just">
              <a:lnSpc>
                <a:spcPct val="114000"/>
              </a:lnSpc>
              <a:buClr>
                <a:srgbClr val="2DA2BF"/>
              </a:buClr>
              <a:buNone/>
            </a:pPr>
            <a:endParaRPr lang="ru-RU" sz="20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0" lvl="1" indent="341313" algn="just">
              <a:lnSpc>
                <a:spcPct val="114000"/>
              </a:lnSpc>
              <a:buClr>
                <a:srgbClr val="2DA2BF"/>
              </a:buClr>
              <a:buFont typeface="Wingdings" panose="05000000000000000000" pitchFamily="2" charset="2"/>
              <a:buChar char="v"/>
            </a:pPr>
            <a:r>
              <a:rPr lang="ru-RU" sz="20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Не применение обеспечения при таможенном транзите</a:t>
            </a: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при перемещении иностранных товаров </a:t>
            </a:r>
            <a:r>
              <a:rPr lang="ru-RU" sz="20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воздушным транспортом</a:t>
            </a:r>
            <a:endParaRPr lang="ru-RU" sz="20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0" lvl="1" indent="361950" algn="just">
              <a:lnSpc>
                <a:spcPct val="114000"/>
              </a:lnSpc>
              <a:buClr>
                <a:srgbClr val="2DA2BF"/>
              </a:buClr>
              <a:buNone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Цель: </a:t>
            </a:r>
            <a:r>
              <a:rPr lang="ru-RU" sz="20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упрощение </a:t>
            </a: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транзита при воздушных перевозках.</a:t>
            </a:r>
            <a:endParaRPr lang="ru-RU" sz="2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0" lvl="1" indent="341313" algn="just">
              <a:lnSpc>
                <a:spcPct val="114000"/>
              </a:lnSpc>
              <a:buClr>
                <a:srgbClr val="2DA2BF"/>
              </a:buClr>
              <a:buFont typeface="Wingdings" panose="05000000000000000000" pitchFamily="2" charset="2"/>
              <a:buChar char="v"/>
            </a:pPr>
            <a:endParaRPr lang="ru-RU" sz="20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0" lvl="1" indent="341313" algn="just">
              <a:lnSpc>
                <a:spcPct val="114000"/>
              </a:lnSpc>
              <a:buClr>
                <a:srgbClr val="2DA2BF"/>
              </a:buClr>
              <a:buFont typeface="Wingdings" panose="05000000000000000000" pitchFamily="2" charset="2"/>
              <a:buChar char="v"/>
            </a:pPr>
            <a:endParaRPr lang="ru-RU" sz="1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78240" y="6492875"/>
            <a:ext cx="365760" cy="365125"/>
          </a:xfrm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C2516E51-FE87-488E-89CD-0AA203C0492F}" type="slidenum">
              <a:rPr lang="ru-RU"/>
              <a:pPr>
                <a:defRPr/>
              </a:pPr>
              <a:t>20</a:t>
            </a:fld>
            <a:endParaRPr lang="ru-RU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142844" y="835124"/>
            <a:ext cx="8715436" cy="1588"/>
          </a:xfrm>
          <a:prstGeom prst="line">
            <a:avLst/>
          </a:prstGeom>
          <a:ln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1"/>
          <p:cNvSpPr txBox="1">
            <a:spLocks/>
          </p:cNvSpPr>
          <p:nvPr/>
        </p:nvSpPr>
        <p:spPr>
          <a:xfrm>
            <a:off x="0" y="50349"/>
            <a:ext cx="9144000" cy="71435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прощение процедур таможенного транзита товаров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0380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026563"/>
          </a:xfrm>
        </p:spPr>
        <p:txBody>
          <a:bodyPr>
            <a:normAutofit/>
          </a:bodyPr>
          <a:lstStyle/>
          <a:p>
            <a:pPr marL="0" lvl="0" indent="263525" algn="just">
              <a:spcBef>
                <a:spcPts val="0"/>
              </a:spcBef>
              <a:buClrTx/>
              <a:buSzTx/>
              <a:buNone/>
              <a:defRPr/>
            </a:pPr>
            <a:r>
              <a:rPr lang="kk-KZ" sz="1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kk-KZ" sz="18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4г</a:t>
            </a:r>
            <a:r>
              <a:rPr lang="kk-KZ" sz="1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Казахстаном ратифицирована Конвенция о взаимной административной помощи по налоговым делам </a:t>
            </a:r>
            <a:r>
              <a:rPr lang="ru-RU" sz="1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(Страсбургская конвенция 25 января 1988г</a:t>
            </a:r>
            <a:r>
              <a:rPr lang="ru-RU" sz="18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 </a:t>
            </a:r>
          </a:p>
          <a:p>
            <a:pPr marL="0" indent="263525" algn="just">
              <a:spcBef>
                <a:spcPts val="0"/>
              </a:spcBef>
              <a:buClrTx/>
              <a:buSzTx/>
              <a:buNone/>
              <a:defRPr/>
            </a:pPr>
            <a:r>
              <a:rPr lang="ru-RU" sz="1600" i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(к конвенции присоединились 103 государства, в том числе 19 оффшорных юрисдикций)</a:t>
            </a:r>
          </a:p>
          <a:p>
            <a:pPr marL="0" lvl="0" indent="263525" algn="just">
              <a:spcBef>
                <a:spcPts val="0"/>
              </a:spcBef>
              <a:buClrTx/>
              <a:buSzTx/>
              <a:buNone/>
              <a:defRPr/>
            </a:pPr>
            <a:endParaRPr lang="ru-RU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263525" algn="just">
              <a:spcBef>
                <a:spcPts val="0"/>
              </a:spcBef>
              <a:buClrTx/>
              <a:buSzTx/>
              <a:buNone/>
              <a:defRPr/>
            </a:pPr>
            <a:r>
              <a:rPr lang="ru-RU" sz="18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 - обмен налоговой информацией в целях противодействия теневой экономике, отмыванию теневых доходов , включая уклонение от уплаты налогов.</a:t>
            </a:r>
          </a:p>
          <a:p>
            <a:pPr marL="0" lvl="0" indent="0" algn="just">
              <a:spcBef>
                <a:spcPts val="0"/>
              </a:spcBef>
              <a:buClrTx/>
              <a:buSzTx/>
              <a:buNone/>
              <a:defRPr/>
            </a:pP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 algn="just">
              <a:spcBef>
                <a:spcPts val="0"/>
              </a:spcBef>
              <a:buClrTx/>
              <a:buSzTx/>
              <a:buNone/>
              <a:defRPr/>
            </a:pP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263525" algn="just">
              <a:spcBef>
                <a:spcPts val="0"/>
              </a:spcBef>
              <a:buClrTx/>
              <a:buSzTx/>
              <a:buNone/>
              <a:defRPr/>
            </a:pP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создания </a:t>
            </a: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овой основы для исполнения Казахстаном положений 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шеуказанного соглашения, </a:t>
            </a:r>
            <a:r>
              <a:rPr lang="ru-RU" sz="18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ведены </a:t>
            </a:r>
            <a:r>
              <a:rPr lang="ru-RU" sz="18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правки в </a:t>
            </a:r>
            <a:r>
              <a:rPr lang="ru-RU" sz="18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конодательство РК, предусматривающие </a:t>
            </a:r>
            <a:r>
              <a:rPr lang="ru-RU" sz="18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недрение механизмов и инструментов обмена информацией в сфере </a:t>
            </a:r>
            <a:r>
              <a:rPr lang="ru-RU" sz="18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логообложения</a:t>
            </a:r>
            <a:r>
              <a:rPr lang="ru-RU" sz="18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ru-RU" sz="16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логовый, Гражданский кодексы, законы о банках, о страховании, о рынке ценных </a:t>
            </a:r>
            <a:r>
              <a:rPr lang="ru-RU" sz="16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умаг)</a:t>
            </a:r>
            <a:r>
              <a:rPr lang="ru-RU" sz="18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</a:t>
            </a:r>
            <a:endParaRPr lang="ru-RU" sz="1800" dirty="0">
              <a:solidFill>
                <a:srgbClr val="002060"/>
              </a:solidFill>
            </a:endParaRPr>
          </a:p>
          <a:p>
            <a:pPr marL="0" lvl="0" indent="0" algn="just">
              <a:spcBef>
                <a:spcPts val="0"/>
              </a:spcBef>
              <a:buClrTx/>
              <a:buSzTx/>
              <a:buNone/>
              <a:defRPr/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3</a:t>
            </a:fld>
            <a:endParaRPr lang="ru-RU"/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0" y="116632"/>
            <a:ext cx="9144000" cy="714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Lucida Sans Unicode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  <a:cs typeface="Arial" charset="0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b="1" dirty="0" smtClean="0">
                <a:solidFill>
                  <a:srgbClr val="002060"/>
                </a:solidFill>
                <a:latin typeface="Arial" charset="0"/>
              </a:rPr>
              <a:t>Международное взаимодействие по обмену информацией</a:t>
            </a:r>
            <a:endParaRPr lang="ru-RU" altLang="ru-RU" sz="2400" b="1" dirty="0">
              <a:solidFill>
                <a:srgbClr val="002060"/>
              </a:solidFill>
              <a:latin typeface="Arial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323528" y="830987"/>
            <a:ext cx="83529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0322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3528" y="1214422"/>
            <a:ext cx="8496944" cy="4518834"/>
          </a:xfrm>
          <a:solidFill>
            <a:schemeClr val="bg1"/>
          </a:solidFill>
        </p:spPr>
        <p:txBody>
          <a:bodyPr>
            <a:normAutofit/>
          </a:bodyPr>
          <a:lstStyle/>
          <a:p>
            <a:pPr marL="0" indent="360000" algn="just">
              <a:spcBef>
                <a:spcPts val="1200"/>
              </a:spcBef>
              <a:buNone/>
            </a:pPr>
            <a:r>
              <a:rPr lang="ru-RU" sz="17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Для применения Конвенции об </a:t>
            </a:r>
            <a:r>
              <a:rPr lang="ru-RU" sz="1700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избежании</a:t>
            </a:r>
            <a:r>
              <a:rPr lang="ru-RU" sz="17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двойного налогообложения нерезидент обязан предоставить </a:t>
            </a:r>
            <a:r>
              <a:rPr lang="ru-RU" sz="17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документ, подтверждающий </a:t>
            </a:r>
            <a:r>
              <a:rPr lang="ru-RU" sz="1700" b="1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резидентство</a:t>
            </a:r>
            <a:r>
              <a:rPr lang="ru-RU" sz="17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, на бумажном носителе с дипломатической (консульской) легализацией такого документа. </a:t>
            </a:r>
          </a:p>
          <a:p>
            <a:pPr marL="0" indent="360000" algn="just">
              <a:spcBef>
                <a:spcPts val="1200"/>
              </a:spcBef>
              <a:buNone/>
            </a:pPr>
            <a:endParaRPr lang="ru-RU" sz="1700" b="1" dirty="0" smtClean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0" indent="360000" algn="just">
              <a:spcBef>
                <a:spcPts val="1200"/>
              </a:spcBef>
              <a:buNone/>
            </a:pPr>
            <a:r>
              <a:rPr lang="ru-RU" sz="17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Международная практика – иностранные государства переходят на подтверждение </a:t>
            </a:r>
            <a:r>
              <a:rPr lang="ru-RU" sz="1700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резидентства</a:t>
            </a:r>
            <a:r>
              <a:rPr lang="ru-RU" sz="17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в электронном виде путем размещения на официальных сайтах компетентных органов. </a:t>
            </a:r>
          </a:p>
          <a:p>
            <a:pPr marL="0" indent="354013" algn="just">
              <a:buNone/>
            </a:pPr>
            <a:endParaRPr lang="ru-RU" sz="1700" b="1" dirty="0" smtClean="0">
              <a:latin typeface="Arial" pitchFamily="34" charset="0"/>
              <a:cs typeface="Arial" pitchFamily="34" charset="0"/>
            </a:endParaRPr>
          </a:p>
          <a:p>
            <a:pPr marL="0" indent="354013" algn="just">
              <a:buNone/>
            </a:pPr>
            <a:r>
              <a:rPr lang="ru-RU" sz="17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коном предусмотрены поправки </a:t>
            </a:r>
            <a:r>
              <a:rPr lang="ru-RU" sz="17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 упрощению </a:t>
            </a:r>
            <a:r>
              <a:rPr lang="ru-RU" sz="17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этой процедуры, путем предоставления возможности подтверждения </a:t>
            </a:r>
            <a:r>
              <a:rPr lang="ru-RU" sz="17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зидентства</a:t>
            </a:r>
            <a:r>
              <a:rPr lang="ru-RU" sz="17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нерезидента в электронном виде. </a:t>
            </a:r>
            <a:endParaRPr lang="ru-RU" sz="17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78240" y="6492875"/>
            <a:ext cx="365760" cy="365125"/>
          </a:xfrm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C2516E51-FE87-488E-89CD-0AA203C0492F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214282" y="116632"/>
            <a:ext cx="8715436" cy="7406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недрение </a:t>
            </a:r>
            <a:r>
              <a:rPr lang="ru-RU" sz="2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электронного документа, подтверждающего </a:t>
            </a:r>
            <a:r>
              <a:rPr lang="ru-RU" sz="24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зидентство</a:t>
            </a:r>
            <a:r>
              <a:rPr lang="ru-RU" sz="2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резидента </a:t>
            </a:r>
            <a:endParaRPr lang="ru-RU" sz="2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14282" y="836712"/>
            <a:ext cx="8606190" cy="0"/>
          </a:xfrm>
          <a:prstGeom prst="line">
            <a:avLst/>
          </a:prstGeom>
          <a:ln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677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01139" y="785794"/>
            <a:ext cx="8591341" cy="5000660"/>
          </a:xfrm>
          <a:solidFill>
            <a:schemeClr val="bg1"/>
          </a:solidFill>
        </p:spPr>
        <p:txBody>
          <a:bodyPr>
            <a:normAutofit fontScale="92500"/>
          </a:bodyPr>
          <a:lstStyle/>
          <a:p>
            <a:pPr marL="0" indent="355600" algn="just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ru-RU" sz="16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В 2015 году внесены поправки в налоговое законодательство, предусматривающие поэтапный переход на обязательную выписку ЭСФ:</a:t>
            </a:r>
          </a:p>
          <a:p>
            <a:pPr marL="542925" indent="-180975" algn="just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- </a:t>
            </a:r>
            <a:r>
              <a:rPr lang="ru-RU" sz="1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 </a:t>
            </a: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 января </a:t>
            </a:r>
            <a:r>
              <a:rPr lang="ru-RU" sz="1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016г. </a:t>
            </a: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– уполномоченные экономические операторы;</a:t>
            </a:r>
          </a:p>
          <a:p>
            <a:pPr marL="446088" indent="-84138" algn="just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- </a:t>
            </a:r>
            <a:r>
              <a:rPr lang="ru-RU" sz="1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 </a:t>
            </a: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 </a:t>
            </a:r>
            <a:r>
              <a:rPr lang="ru-RU" sz="1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юля 2016г. </a:t>
            </a: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– таможенные перевозчики, таможенные представители, владельцы таможенных складов, владельцы складов временного хранения;</a:t>
            </a:r>
          </a:p>
          <a:p>
            <a:pPr marL="542925" indent="-180975" algn="just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ru-RU" sz="16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с </a:t>
            </a:r>
            <a:r>
              <a:rPr lang="ru-RU" sz="16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 января </a:t>
            </a:r>
            <a:r>
              <a:rPr lang="ru-RU" sz="16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2017г. </a:t>
            </a: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–  плательщики НДС.</a:t>
            </a:r>
          </a:p>
          <a:p>
            <a:pPr marL="542925" indent="-180975" algn="just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Tx/>
              <a:buChar char="-"/>
              <a:defRPr/>
            </a:pPr>
            <a:endParaRPr lang="ru-RU" sz="4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indent="361950" algn="just">
              <a:spcAft>
                <a:spcPts val="600"/>
              </a:spcAft>
              <a:buNone/>
            </a:pPr>
            <a:r>
              <a:rPr lang="ru-RU" sz="16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16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связи с обязательством Казахстана перед государствами-членами </a:t>
            </a:r>
            <a:r>
              <a:rPr lang="ru-RU" sz="16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ЕАЭС </a:t>
            </a:r>
            <a:r>
              <a:rPr lang="ru-RU" sz="16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о созданию системы учета отслеживания товаров </a:t>
            </a:r>
            <a:r>
              <a:rPr lang="ru-RU" sz="16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ВТО на </a:t>
            </a:r>
            <a:r>
              <a:rPr lang="ru-RU" sz="16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базе ИС ЭСФ с </a:t>
            </a:r>
            <a:r>
              <a:rPr lang="ru-RU" sz="16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рименением модуля </a:t>
            </a:r>
            <a:r>
              <a:rPr lang="ru-RU" sz="16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«Виртуальный склад», а также </a:t>
            </a:r>
            <a:r>
              <a:rPr lang="ru-RU" sz="16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решением о финансировании </a:t>
            </a:r>
            <a:r>
              <a:rPr lang="en-US" sz="16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IT </a:t>
            </a:r>
            <a:r>
              <a:rPr lang="ru-RU" sz="16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в рамках Всемирного банка предусмотрен переход </a:t>
            </a:r>
            <a:r>
              <a:rPr lang="ru-RU" sz="16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на обязательную выписку </a:t>
            </a:r>
            <a:r>
              <a:rPr lang="ru-RU" sz="16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ЭСФ в следующие этапы:</a:t>
            </a:r>
            <a:endParaRPr lang="ru-RU" sz="1600" b="1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0" indent="355600">
              <a:spcAft>
                <a:spcPts val="600"/>
              </a:spcAft>
              <a:buNone/>
            </a:pP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- </a:t>
            </a:r>
            <a:r>
              <a:rPr lang="ru-RU" sz="16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с </a:t>
            </a:r>
            <a:r>
              <a:rPr lang="ru-RU" sz="16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1 января 2018 </a:t>
            </a:r>
            <a:r>
              <a:rPr lang="ru-RU" sz="16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года </a:t>
            </a: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– крупные налогоплательщики, подлежащие мониторингу;</a:t>
            </a:r>
            <a:endParaRPr lang="ru-RU" sz="16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indent="355600">
              <a:spcAft>
                <a:spcPts val="600"/>
              </a:spcAft>
              <a:buFontTx/>
              <a:buChar char="-"/>
            </a:pPr>
            <a:r>
              <a:rPr lang="ru-RU" sz="16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- с </a:t>
            </a:r>
            <a:r>
              <a:rPr lang="ru-RU" sz="16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1 января 2019 года </a:t>
            </a: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–  плательщики НДС.. </a:t>
            </a:r>
          </a:p>
          <a:p>
            <a:pPr marL="361950" indent="0">
              <a:spcAft>
                <a:spcPts val="600"/>
              </a:spcAft>
              <a:buNone/>
            </a:pP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налогично внедрение </a:t>
            </a:r>
            <a:r>
              <a:rPr lang="ru-RU" sz="16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проводительных накладных </a:t>
            </a: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 все </a:t>
            </a:r>
            <a:r>
              <a:rPr lang="ru-RU" sz="16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овары </a:t>
            </a:r>
            <a:r>
              <a:rPr lang="ru-RU" sz="16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с 1 января 2019 года.</a:t>
            </a:r>
            <a:endParaRPr lang="ru-RU" sz="1600" dirty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  <a:p>
            <a:pPr marL="361950" indent="0">
              <a:spcAft>
                <a:spcPts val="600"/>
              </a:spcAft>
              <a:buNone/>
            </a:pPr>
            <a:r>
              <a:rPr lang="ru-RU" sz="1400" b="1" dirty="0" err="1" smtClean="0">
                <a:latin typeface="Arial" pitchFamily="34" charset="0"/>
                <a:cs typeface="Arial" pitchFamily="34" charset="0"/>
              </a:rPr>
              <a:t>Справочно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:</a:t>
            </a:r>
            <a:r>
              <a:rPr lang="ru-RU" sz="1400" i="1" dirty="0">
                <a:latin typeface="Arial" pitchFamily="34" charset="0"/>
                <a:cs typeface="Arial" pitchFamily="34" charset="0"/>
              </a:rPr>
              <a:t> по состоянию на 24 августа 2016 года зарегистрировано 66 398 пользователей </a:t>
            </a:r>
            <a:r>
              <a:rPr lang="ru-RU" sz="1400" i="1" dirty="0" smtClean="0">
                <a:latin typeface="Arial" pitchFamily="34" charset="0"/>
                <a:cs typeface="Arial" pitchFamily="34" charset="0"/>
              </a:rPr>
              <a:t>ЭСФ.     Выписано </a:t>
            </a:r>
            <a:r>
              <a:rPr lang="ru-RU" sz="1400" i="1" dirty="0">
                <a:latin typeface="Arial" pitchFamily="34" charset="0"/>
                <a:cs typeface="Arial" pitchFamily="34" charset="0"/>
              </a:rPr>
              <a:t>8 963 578 ЭСФ</a:t>
            </a:r>
            <a:r>
              <a:rPr lang="ru-RU" sz="1400" i="1" dirty="0" smtClean="0">
                <a:latin typeface="Arial" pitchFamily="34" charset="0"/>
                <a:cs typeface="Arial" pitchFamily="34" charset="0"/>
              </a:rPr>
              <a:t>.</a:t>
            </a:r>
            <a:endParaRPr lang="ru-RU" sz="1600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78240" y="6492875"/>
            <a:ext cx="365760" cy="365125"/>
          </a:xfrm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C2516E51-FE87-488E-89CD-0AA203C0492F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323528" y="116631"/>
            <a:ext cx="8496944" cy="52628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2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этапный </a:t>
            </a:r>
            <a:r>
              <a:rPr lang="ru-RU" sz="2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ереход </a:t>
            </a:r>
            <a:r>
              <a:rPr lang="ru-RU" sz="22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 </a:t>
            </a:r>
            <a:r>
              <a:rPr lang="ru-RU" sz="2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язательную </a:t>
            </a:r>
            <a:r>
              <a:rPr lang="ru-RU" sz="22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ыписку электронных счетов-фактур (ЭСФ) и сопроводительных накладных</a:t>
            </a:r>
            <a:endParaRPr lang="ru-RU" sz="22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5720" y="642918"/>
            <a:ext cx="8715436" cy="1588"/>
          </a:xfrm>
          <a:prstGeom prst="line">
            <a:avLst/>
          </a:prstGeom>
          <a:ln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2173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188" y="928688"/>
            <a:ext cx="8440737" cy="4803775"/>
          </a:xfrm>
          <a:solidFill>
            <a:schemeClr val="bg1"/>
          </a:solidFill>
        </p:spPr>
        <p:txBody>
          <a:bodyPr anchor="t">
            <a:normAutofit/>
          </a:bodyPr>
          <a:lstStyle/>
          <a:p>
            <a:pPr marL="0" indent="446088" algn="just">
              <a:buNone/>
            </a:pP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Действующим налоговым кодексом </a:t>
            </a:r>
            <a:r>
              <a:rPr lang="ru-RU" sz="200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с 01.01.2017 года</a:t>
            </a: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предусмотрено внедрение электронного аудита при проведении налоговых или таможенных проверок.</a:t>
            </a:r>
          </a:p>
          <a:p>
            <a:pPr marL="342900" indent="-342900" algn="just">
              <a:buFontTx/>
              <a:buChar char="-"/>
            </a:pPr>
            <a:endParaRPr lang="ru-RU" sz="2000" dirty="0" smtClean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0" indent="446088" algn="just" eaLnBrk="1" hangingPunct="1">
              <a:buNone/>
              <a:defRPr/>
            </a:pPr>
            <a:r>
              <a:rPr lang="ru-RU" sz="2000" dirty="0" smtClean="0">
                <a:solidFill>
                  <a:srgbClr val="0070C0"/>
                </a:solidFill>
                <a:latin typeface="Arial" charset="0"/>
                <a:cs typeface="Arial" charset="0"/>
              </a:rPr>
              <a:t>Мировая практика - электронный аудит при проведении налоговых или таможенных проверок</a:t>
            </a:r>
            <a:r>
              <a:rPr lang="ru-RU" sz="20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используется в странах ОЭСР и в других странах (</a:t>
            </a:r>
            <a:r>
              <a:rPr lang="ru-RU" sz="20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Нидерланды, Португалия, Латвия, Эстония и т.д</a:t>
            </a: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.), что сокращает сроки проведения проверок, повышает их результативность и прозрачность. </a:t>
            </a:r>
          </a:p>
          <a:p>
            <a:pPr marL="0" indent="446088" algn="just" eaLnBrk="1" hangingPunct="1">
              <a:buFont typeface="Wingdings 3" pitchFamily="18" charset="2"/>
              <a:buNone/>
              <a:defRPr/>
            </a:pPr>
            <a:endParaRPr lang="ru-RU" sz="2000" dirty="0" smtClean="0">
              <a:latin typeface="Arial" pitchFamily="34" charset="0"/>
              <a:cs typeface="Arial" pitchFamily="34" charset="0"/>
            </a:endParaRPr>
          </a:p>
          <a:p>
            <a:pPr marL="0" lvl="1" indent="446088" algn="just" eaLnBrk="1" fontAlgn="auto" hangingPunct="1">
              <a:lnSpc>
                <a:spcPct val="114000"/>
              </a:lnSpc>
              <a:spcBef>
                <a:spcPts val="324"/>
              </a:spcBef>
              <a:spcAft>
                <a:spcPts val="0"/>
              </a:spcAft>
              <a:buFont typeface="Verdana"/>
              <a:buNone/>
              <a:defRPr/>
            </a:pP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 целью доработки информационных систем налогоплательщиков, а также ее тестирования на </a:t>
            </a:r>
            <a:r>
              <a:rPr lang="ru-RU" sz="2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обровольной </a:t>
            </a: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снове внедрение электронного аудита перенесено </a:t>
            </a:r>
            <a:r>
              <a:rPr lang="ru-RU" sz="20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на 1 января 2019 года</a:t>
            </a:r>
            <a:r>
              <a:rPr lang="ru-RU" sz="20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1588" lvl="1" indent="0" algn="just" eaLnBrk="1" fontAlgn="auto" hangingPunct="1">
              <a:lnSpc>
                <a:spcPct val="114000"/>
              </a:lnSpc>
              <a:spcBef>
                <a:spcPts val="324"/>
              </a:spcBef>
              <a:spcAft>
                <a:spcPts val="0"/>
              </a:spcAft>
              <a:buFont typeface="Verdana" pitchFamily="34" charset="0"/>
              <a:buNone/>
              <a:defRPr/>
            </a:pPr>
            <a:endParaRPr lang="ru-RU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243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778875" y="6492875"/>
            <a:ext cx="365125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A450577-967F-4731-97B4-318AF5EF568F}" type="slidenum">
              <a:rPr lang="ru-RU" smtClean="0">
                <a:solidFill>
                  <a:srgbClr val="000000"/>
                </a:solidFill>
                <a:latin typeface="Lucida Sans Unicode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 smtClean="0">
              <a:solidFill>
                <a:srgbClr val="000000"/>
              </a:solidFill>
              <a:latin typeface="Lucida Sans Unicode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187325" y="764705"/>
            <a:ext cx="8715375" cy="1588"/>
          </a:xfrm>
          <a:prstGeom prst="line">
            <a:avLst/>
          </a:prstGeom>
          <a:ln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45" name="Заголовок 1"/>
          <p:cNvSpPr txBox="1">
            <a:spLocks/>
          </p:cNvSpPr>
          <p:nvPr/>
        </p:nvSpPr>
        <p:spPr bwMode="auto">
          <a:xfrm>
            <a:off x="358775" y="116633"/>
            <a:ext cx="8426450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sz="2400" b="1" dirty="0" smtClean="0">
                <a:solidFill>
                  <a:schemeClr val="tx2"/>
                </a:solidFill>
                <a:cs typeface="Arial" charset="0"/>
              </a:rPr>
              <a:t>Внедрение Е-аудита (электронного </a:t>
            </a:r>
            <a:r>
              <a:rPr lang="ru-RU" sz="2400" b="1" dirty="0">
                <a:solidFill>
                  <a:schemeClr val="tx2"/>
                </a:solidFill>
                <a:cs typeface="Arial" charset="0"/>
              </a:rPr>
              <a:t>аудита)</a:t>
            </a:r>
            <a:endParaRPr lang="ru-RU" sz="2400" dirty="0">
              <a:solidFill>
                <a:schemeClr val="tx2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0370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188" y="928688"/>
            <a:ext cx="8440737" cy="4803775"/>
          </a:xfrm>
          <a:solidFill>
            <a:schemeClr val="bg1"/>
          </a:solidFill>
        </p:spPr>
        <p:txBody>
          <a:bodyPr anchor="ctr">
            <a:normAutofit/>
          </a:bodyPr>
          <a:lstStyle/>
          <a:p>
            <a:pPr marL="0" indent="446088" algn="just" eaLnBrk="1" hangingPunct="1">
              <a:buFont typeface="Wingdings 3" pitchFamily="18" charset="2"/>
              <a:buNone/>
              <a:defRPr/>
            </a:pP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Налогоплательщикам предоставлено </a:t>
            </a:r>
            <a:r>
              <a:rPr lang="ru-RU" sz="20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раво выбора </a:t>
            </a: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добровольной ликвидации на основе </a:t>
            </a:r>
            <a:r>
              <a:rPr lang="ru-RU" sz="20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роверки аудиторской </a:t>
            </a: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организацией </a:t>
            </a:r>
            <a:r>
              <a:rPr lang="ru-RU" sz="20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либо </a:t>
            </a: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налоговой проверки. </a:t>
            </a:r>
          </a:p>
          <a:p>
            <a:pPr marL="0" indent="446088" algn="just" eaLnBrk="1" hangingPunct="1">
              <a:buFont typeface="Wingdings 3" pitchFamily="18" charset="2"/>
              <a:buNone/>
              <a:defRPr/>
            </a:pPr>
            <a:endParaRPr lang="ru-RU" sz="2000" dirty="0" smtClean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0" lvl="1" indent="446088" algn="just" eaLnBrk="1" fontAlgn="auto" hangingPunct="1">
              <a:lnSpc>
                <a:spcPct val="114000"/>
              </a:lnSpc>
              <a:spcBef>
                <a:spcPts val="324"/>
              </a:spcBef>
              <a:spcAft>
                <a:spcPts val="0"/>
              </a:spcAft>
              <a:buFont typeface="Verdana"/>
              <a:buNone/>
              <a:defRPr/>
            </a:pP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раво на проверку аудиторской организацией возникает если сумма совокупного годового дохода не превышает </a:t>
            </a:r>
            <a:r>
              <a:rPr lang="ru-RU" sz="20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60 000 </a:t>
            </a:r>
            <a:r>
              <a:rPr lang="ru-RU" sz="20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МРП.</a:t>
            </a:r>
          </a:p>
          <a:p>
            <a:pPr marL="0" lvl="1" indent="446088" algn="just" eaLnBrk="1" fontAlgn="auto" hangingPunct="1">
              <a:lnSpc>
                <a:spcPct val="114000"/>
              </a:lnSpc>
              <a:spcBef>
                <a:spcPts val="324"/>
              </a:spcBef>
              <a:spcAft>
                <a:spcPts val="0"/>
              </a:spcAft>
              <a:buFont typeface="Verdana"/>
              <a:buNone/>
              <a:defRPr/>
            </a:pPr>
            <a:endParaRPr lang="ru-RU" sz="2000" dirty="0" smtClean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0" lvl="1" indent="446088" algn="just" eaLnBrk="1" fontAlgn="auto" hangingPunct="1">
              <a:lnSpc>
                <a:spcPct val="114000"/>
              </a:lnSpc>
              <a:spcBef>
                <a:spcPts val="324"/>
              </a:spcBef>
              <a:spcAft>
                <a:spcPts val="0"/>
              </a:spcAft>
              <a:buFont typeface="Verdana"/>
              <a:buNone/>
              <a:defRPr/>
            </a:pP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 целью расширения рынка аудиторских услуг и сокращения количества ликвидационных налоговых проверок порог совокупного годового  дохода для проверки аудиторской организацией увеличен до </a:t>
            </a:r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20 000 </a:t>
            </a: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РП.</a:t>
            </a:r>
          </a:p>
          <a:p>
            <a:pPr marL="1588" lvl="1" indent="0" algn="just" eaLnBrk="1" fontAlgn="auto" hangingPunct="1">
              <a:lnSpc>
                <a:spcPct val="114000"/>
              </a:lnSpc>
              <a:spcBef>
                <a:spcPts val="324"/>
              </a:spcBef>
              <a:spcAft>
                <a:spcPts val="0"/>
              </a:spcAft>
              <a:buFont typeface="Verdana" pitchFamily="34" charset="0"/>
              <a:buNone/>
              <a:defRPr/>
            </a:pPr>
            <a:endParaRPr lang="ru-RU" sz="17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243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778875" y="6492875"/>
            <a:ext cx="365125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0621FC11-5C92-4D36-BD79-66692A8B18D8}" type="slidenum">
              <a:rPr lang="ru-RU" smtClean="0">
                <a:solidFill>
                  <a:srgbClr val="000000"/>
                </a:solidFill>
                <a:latin typeface="Lucida Sans Unicode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 smtClean="0">
              <a:solidFill>
                <a:srgbClr val="000000"/>
              </a:solidFill>
              <a:latin typeface="Lucida Sans Unicode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187325" y="981075"/>
            <a:ext cx="8715375" cy="1588"/>
          </a:xfrm>
          <a:prstGeom prst="line">
            <a:avLst/>
          </a:prstGeom>
          <a:ln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45" name="Заголовок 1"/>
          <p:cNvSpPr txBox="1">
            <a:spLocks/>
          </p:cNvSpPr>
          <p:nvPr/>
        </p:nvSpPr>
        <p:spPr bwMode="auto">
          <a:xfrm>
            <a:off x="358775" y="212725"/>
            <a:ext cx="8426450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sz="2400" b="1" dirty="0" smtClean="0">
                <a:solidFill>
                  <a:srgbClr val="002060"/>
                </a:solidFill>
                <a:cs typeface="Arial" charset="0"/>
              </a:rPr>
              <a:t>Проверки по налогам, проводимые </a:t>
            </a:r>
            <a:r>
              <a:rPr lang="ru-RU" sz="2400" b="1" dirty="0">
                <a:solidFill>
                  <a:srgbClr val="002060"/>
                </a:solidFill>
                <a:cs typeface="Arial" charset="0"/>
              </a:rPr>
              <a:t>аудиторской </a:t>
            </a:r>
            <a:r>
              <a:rPr lang="ru-RU" sz="2400" b="1" dirty="0" smtClean="0">
                <a:solidFill>
                  <a:srgbClr val="002060"/>
                </a:solidFill>
                <a:cs typeface="Arial" charset="0"/>
              </a:rPr>
              <a:t>компанией</a:t>
            </a:r>
            <a:endParaRPr lang="ru-RU" sz="2400" b="1" dirty="0">
              <a:solidFill>
                <a:srgbClr val="00206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5333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214282" y="1214422"/>
            <a:ext cx="8715436" cy="4714908"/>
          </a:xfrm>
          <a:solidFill>
            <a:schemeClr val="bg1"/>
          </a:solidFill>
        </p:spPr>
        <p:txBody>
          <a:bodyPr>
            <a:normAutofit/>
          </a:bodyPr>
          <a:lstStyle/>
          <a:p>
            <a:pPr marL="0" indent="361950" algn="just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5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В 2015 году внесены изменения в законодательство по вопросам </a:t>
            </a:r>
            <a:r>
              <a:rPr lang="ru-RU" sz="15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декларирования доходов и имущества физических </a:t>
            </a:r>
            <a:r>
              <a:rPr lang="ru-RU" sz="15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лиц, предусматривающие поэтапный переход к декларированию доходов и имущества физических лиц:</a:t>
            </a:r>
          </a:p>
          <a:p>
            <a:pPr marL="0" indent="361950" algn="just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5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- </a:t>
            </a:r>
            <a:r>
              <a:rPr lang="ru-RU" sz="15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 </a:t>
            </a:r>
            <a:r>
              <a:rPr lang="ru-RU" sz="15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ервом этапе </a:t>
            </a:r>
            <a:r>
              <a:rPr lang="ru-RU" sz="15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с 2017 </a:t>
            </a:r>
            <a:r>
              <a:rPr lang="ru-RU" sz="15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года </a:t>
            </a:r>
            <a:r>
              <a:rPr lang="ru-RU" sz="15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– государственными служащими, судьями, работниками 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циональных компаний управленческого и административного профиля, а также </a:t>
            </a:r>
            <a:r>
              <a:rPr lang="ru-RU" sz="15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ботниками 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юджетных </a:t>
            </a:r>
            <a:r>
              <a:rPr lang="ru-RU" sz="15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ганизаций;</a:t>
            </a:r>
          </a:p>
          <a:p>
            <a:pPr marL="0" indent="361950" algn="just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5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- </a:t>
            </a:r>
            <a:r>
              <a:rPr lang="ru-RU" sz="15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 втором </a:t>
            </a:r>
            <a:r>
              <a:rPr lang="ru-RU" sz="15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этапе </a:t>
            </a:r>
            <a:r>
              <a:rPr lang="ru-RU" sz="15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 </a:t>
            </a:r>
            <a:r>
              <a:rPr lang="ru-RU" sz="15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020 </a:t>
            </a:r>
            <a:r>
              <a:rPr lang="ru-RU" sz="15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ода </a:t>
            </a:r>
            <a:r>
              <a:rPr lang="ru-RU" sz="15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– всеми 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стальными физическими </a:t>
            </a:r>
            <a:r>
              <a:rPr lang="ru-RU" sz="15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лицами.</a:t>
            </a:r>
          </a:p>
          <a:p>
            <a:pPr marL="0" indent="446088" algn="just"/>
            <a:endParaRPr lang="ru-RU" sz="15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indent="446088" algn="just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5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В целях обеспечения актуальности и сопоставимости сведений </a:t>
            </a:r>
            <a:r>
              <a:rPr lang="ru-RU" sz="15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баз данных государственных </a:t>
            </a:r>
            <a:r>
              <a:rPr lang="ru-RU" sz="15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органов, а также разработки программного обеспечения для качественного внедрения всеобщего декларирования предусмотрены следующие поправки:</a:t>
            </a:r>
          </a:p>
          <a:p>
            <a:pPr marL="0" indent="446088" algn="just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5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- перенос 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роков декларирования </a:t>
            </a:r>
            <a:r>
              <a:rPr lang="ru-RU" sz="15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в один этап с </a:t>
            </a:r>
            <a:r>
              <a:rPr lang="ru-RU" sz="15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2020 </a:t>
            </a:r>
            <a:r>
              <a:rPr lang="ru-RU" sz="15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года</a:t>
            </a:r>
            <a:r>
              <a:rPr lang="ru-RU" sz="15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marL="0" indent="446088" algn="just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5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- увеличение 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рога наличных денег, дебиторской, кредиторской задолженности, а также </a:t>
            </a:r>
            <a:r>
              <a:rPr lang="ru-RU" sz="15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ругого 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мущества, указываемых в декларации об активах и </a:t>
            </a:r>
            <a:r>
              <a:rPr lang="ru-RU" sz="15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язательствах;</a:t>
            </a:r>
          </a:p>
          <a:p>
            <a:pPr marL="0" indent="446088" algn="just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5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- снижение 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мера административного штрафа за несвоевременное представление физическими лицами декларации или неполное/недостоверное отражение сведений в декларации, совершенные </a:t>
            </a:r>
            <a:r>
              <a:rPr lang="ru-RU" sz="15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вторно.</a:t>
            </a:r>
            <a:endParaRPr lang="ru-RU" sz="12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778240" y="6492875"/>
            <a:ext cx="36576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-142908" y="0"/>
            <a:ext cx="9143999" cy="1214422"/>
          </a:xfrm>
        </p:spPr>
        <p:txBody>
          <a:bodyPr>
            <a:norm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2200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Совершенствование </a:t>
            </a:r>
            <a:r>
              <a:rPr lang="ru-RU" sz="2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законодательства Республики Казахстан по вопросам декларирования доходов и </a:t>
            </a:r>
            <a:r>
              <a:rPr lang="ru-RU" sz="2200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имущества физических </a:t>
            </a:r>
            <a:r>
              <a:rPr lang="ru-RU" sz="2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лиц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214282" y="1142984"/>
            <a:ext cx="8643998" cy="158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969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3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116632"/>
            <a:ext cx="8229600" cy="576064"/>
          </a:xfrm>
        </p:spPr>
        <p:txBody>
          <a:bodyPr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24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Мониторинг крупных налогоплательщиков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553200" y="6304235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23528" y="764704"/>
            <a:ext cx="8496944" cy="50405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" indent="442913" algn="just" defTabSz="180975">
              <a:lnSpc>
                <a:spcPct val="120000"/>
              </a:lnSpc>
              <a:spcBef>
                <a:spcPct val="0"/>
              </a:spcBef>
              <a:buClr>
                <a:schemeClr val="bg2">
                  <a:lumMod val="75000"/>
                </a:schemeClr>
              </a:buClr>
              <a:buNone/>
            </a:pPr>
            <a:r>
              <a:rPr lang="ru-RU" sz="16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Критерии формирования перечня 300 крупных налогоплательщиков:</a:t>
            </a:r>
          </a:p>
          <a:p>
            <a:pPr marL="3175" indent="442913" algn="just" defTabSz="180975">
              <a:lnSpc>
                <a:spcPct val="120000"/>
              </a:lnSpc>
              <a:spcBef>
                <a:spcPct val="0"/>
              </a:spcBef>
              <a:buClr>
                <a:schemeClr val="bg2">
                  <a:lumMod val="75000"/>
                </a:schemeClr>
              </a:buClr>
              <a:buFontTx/>
              <a:buChar char="-"/>
              <a:tabLst>
                <a:tab pos="447675" algn="l"/>
              </a:tabLst>
            </a:pPr>
            <a:r>
              <a:rPr lang="ru-RU" sz="16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наибольший совокупный годовой доход;</a:t>
            </a:r>
          </a:p>
          <a:p>
            <a:pPr marL="3175" indent="442913" algn="just" defTabSz="180975">
              <a:lnSpc>
                <a:spcPct val="120000"/>
              </a:lnSpc>
              <a:spcBef>
                <a:spcPct val="0"/>
              </a:spcBef>
              <a:buClr>
                <a:schemeClr val="bg2">
                  <a:lumMod val="75000"/>
                </a:schemeClr>
              </a:buClr>
              <a:buFontTx/>
              <a:buChar char="-"/>
              <a:tabLst>
                <a:tab pos="447675" algn="l"/>
              </a:tabLst>
            </a:pPr>
            <a:r>
              <a:rPr lang="ru-RU" sz="16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стоимость активов не менее 325 000 месячных расчетных показателей; </a:t>
            </a:r>
          </a:p>
          <a:p>
            <a:pPr marL="3175" indent="442913" algn="just" defTabSz="180975">
              <a:lnSpc>
                <a:spcPct val="120000"/>
              </a:lnSpc>
              <a:spcBef>
                <a:spcPct val="0"/>
              </a:spcBef>
              <a:buClr>
                <a:schemeClr val="bg2">
                  <a:lumMod val="75000"/>
                </a:schemeClr>
              </a:buClr>
              <a:buFontTx/>
              <a:buChar char="-"/>
              <a:tabLst>
                <a:tab pos="447675" algn="l"/>
              </a:tabLst>
            </a:pPr>
            <a:r>
              <a:rPr lang="ru-RU" sz="16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численность работников не менее 250 человек.</a:t>
            </a:r>
          </a:p>
          <a:p>
            <a:pPr marL="3175" indent="0" algn="just" defTabSz="180975">
              <a:lnSpc>
                <a:spcPct val="120000"/>
              </a:lnSpc>
              <a:spcBef>
                <a:spcPct val="0"/>
              </a:spcBef>
              <a:buClr>
                <a:schemeClr val="bg2">
                  <a:lumMod val="75000"/>
                </a:schemeClr>
              </a:buClr>
              <a:buNone/>
              <a:tabLst>
                <a:tab pos="447675" algn="l"/>
              </a:tabLst>
            </a:pPr>
            <a:endParaRPr lang="ru-RU" sz="1600" dirty="0" smtClean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3175" indent="442913" algn="just" defTabSz="180975">
              <a:lnSpc>
                <a:spcPct val="120000"/>
              </a:lnSpc>
              <a:spcBef>
                <a:spcPct val="0"/>
              </a:spcBef>
              <a:buClr>
                <a:schemeClr val="bg2">
                  <a:lumMod val="75000"/>
                </a:schemeClr>
              </a:buClr>
              <a:buNone/>
              <a:tabLst>
                <a:tab pos="447675" algn="l"/>
              </a:tabLst>
            </a:pPr>
            <a:r>
              <a:rPr lang="ru-RU" sz="16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ри этом, не исключаются из мониторинга некоммерческие предприятия</a:t>
            </a:r>
            <a:r>
              <a:rPr lang="ru-RU" sz="16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, деятельность которых не направлена на получение доходов</a:t>
            </a:r>
            <a:r>
              <a:rPr lang="ru-RU" sz="16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, мониторинг в отношении которых нецелесообразен.</a:t>
            </a:r>
          </a:p>
          <a:p>
            <a:pPr marL="3175" indent="442913" algn="just" defTabSz="180975">
              <a:lnSpc>
                <a:spcPct val="120000"/>
              </a:lnSpc>
              <a:spcBef>
                <a:spcPct val="0"/>
              </a:spcBef>
              <a:buClr>
                <a:schemeClr val="bg2">
                  <a:lumMod val="75000"/>
                </a:schemeClr>
              </a:buClr>
              <a:buNone/>
              <a:tabLst>
                <a:tab pos="447675" algn="l"/>
              </a:tabLst>
            </a:pPr>
            <a:r>
              <a:rPr lang="ru-RU" sz="16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Кроме того, не все </a:t>
            </a:r>
            <a:r>
              <a:rPr lang="ru-RU" sz="1600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недропользователи</a:t>
            </a:r>
            <a:r>
              <a:rPr lang="ru-RU" sz="16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, являющиеся градообразующими </a:t>
            </a:r>
            <a:r>
              <a:rPr lang="ru-RU" sz="16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редприятиями на республиканском уровне, соответствуют критериям.</a:t>
            </a:r>
          </a:p>
          <a:p>
            <a:pPr marL="3175" indent="442913" algn="just" defTabSz="180975">
              <a:lnSpc>
                <a:spcPct val="120000"/>
              </a:lnSpc>
              <a:spcBef>
                <a:spcPct val="0"/>
              </a:spcBef>
              <a:buClr>
                <a:schemeClr val="bg2">
                  <a:lumMod val="75000"/>
                </a:schemeClr>
              </a:buClr>
              <a:buNone/>
              <a:tabLst>
                <a:tab pos="447675" algn="l"/>
              </a:tabLst>
            </a:pPr>
            <a:endParaRPr lang="ru-RU" sz="16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indent="446088" algn="just" defTabSz="180975">
              <a:lnSpc>
                <a:spcPct val="120000"/>
              </a:lnSpc>
              <a:spcBef>
                <a:spcPct val="0"/>
              </a:spcBef>
              <a:buNone/>
              <a:tabLst>
                <a:tab pos="447675" algn="l"/>
              </a:tabLst>
            </a:pPr>
            <a:r>
              <a:rPr lang="ru-RU" sz="1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коном предусмотрено:</a:t>
            </a:r>
            <a:endParaRPr lang="ru-RU"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3175" indent="442913" algn="just" defTabSz="180975">
              <a:lnSpc>
                <a:spcPct val="120000"/>
              </a:lnSpc>
              <a:spcBef>
                <a:spcPct val="0"/>
              </a:spcBef>
              <a:buClr>
                <a:schemeClr val="bg2">
                  <a:lumMod val="75000"/>
                </a:schemeClr>
              </a:buClr>
              <a:buFont typeface="Wingdings" pitchFamily="2" charset="2"/>
              <a:buChar char="Ø"/>
              <a:tabLst>
                <a:tab pos="447675" algn="l"/>
              </a:tabLst>
            </a:pPr>
            <a:r>
              <a:rPr lang="ru-RU" sz="16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существлять мониторинг только </a:t>
            </a: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рупных налогоплательщиков</a:t>
            </a:r>
            <a:r>
              <a:rPr lang="ru-RU" sz="16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являющихся </a:t>
            </a: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ммерческими организациями </a:t>
            </a:r>
            <a:r>
              <a:rPr lang="ru-RU" sz="16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 форме хозяйственных товариществ, акционерных обществ и производственных кооперативов;</a:t>
            </a:r>
          </a:p>
          <a:p>
            <a:pPr marL="3175" indent="442913" algn="just" defTabSz="180975">
              <a:lnSpc>
                <a:spcPct val="120000"/>
              </a:lnSpc>
              <a:spcBef>
                <a:spcPct val="0"/>
              </a:spcBef>
              <a:buClr>
                <a:schemeClr val="bg2">
                  <a:lumMod val="75000"/>
                </a:schemeClr>
              </a:buClr>
              <a:buFont typeface="Wingdings" pitchFamily="2" charset="2"/>
              <a:buChar char="Ø"/>
              <a:tabLst>
                <a:tab pos="447675" algn="l"/>
              </a:tabLst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не зависимости от критериев </a:t>
            </a:r>
            <a:r>
              <a:rPr lang="ru-RU" sz="16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существлять мониторинг недропользователей, отнесенных к категории </a:t>
            </a: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радообразующих юридических лиц.</a:t>
            </a:r>
          </a:p>
          <a:p>
            <a:pPr marL="3175" indent="442913" algn="just" defTabSz="180975">
              <a:lnSpc>
                <a:spcPct val="120000"/>
              </a:lnSpc>
              <a:spcBef>
                <a:spcPct val="0"/>
              </a:spcBef>
              <a:buClr>
                <a:schemeClr val="bg2">
                  <a:lumMod val="75000"/>
                </a:schemeClr>
              </a:buClr>
              <a:buNone/>
              <a:tabLst>
                <a:tab pos="447675" algn="l"/>
              </a:tabLst>
            </a:pPr>
            <a:endParaRPr lang="ru-RU" sz="17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3175" indent="442913" algn="just" defTabSz="180975">
              <a:lnSpc>
                <a:spcPct val="120000"/>
              </a:lnSpc>
              <a:spcBef>
                <a:spcPct val="0"/>
              </a:spcBef>
              <a:buClr>
                <a:schemeClr val="bg2">
                  <a:lumMod val="75000"/>
                </a:schemeClr>
              </a:buClr>
              <a:buNone/>
              <a:tabLst>
                <a:tab pos="447675" algn="l"/>
              </a:tabLst>
            </a:pPr>
            <a:endParaRPr lang="ru-RU" sz="17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428596" y="785794"/>
            <a:ext cx="8143932" cy="158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289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Открытая">
  <a:themeElements>
    <a:clrScheme name="Открытая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Открытая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Открытая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95000" t="-106500" r="5000" b="2065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ncourse</Template>
  <TotalTime>23886</TotalTime>
  <Words>1774</Words>
  <Application>Microsoft Office PowerPoint</Application>
  <PresentationFormat>Экран (4:3)</PresentationFormat>
  <Paragraphs>192</Paragraphs>
  <Slides>20</Slides>
  <Notes>1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2" baseType="lpstr">
      <vt:lpstr>Открытая</vt:lpstr>
      <vt:lpstr>think-cell Slide</vt:lpstr>
      <vt:lpstr>Закон РК от 30 ноября 2016 года  26-VI ЗРК  «О внесении изменений и дополнений в некоторые законодательные акты Республики Казахстан по вопросам налогообложения и таможенного администрирования»  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овершенствование законодательства Республики Казахстан по вопросам декларирования доходов и имущества физических лиц</vt:lpstr>
      <vt:lpstr>Мониторинг крупных налогоплательщиков</vt:lpstr>
      <vt:lpstr>Презентация PowerPoint</vt:lpstr>
      <vt:lpstr>Презентация PowerPoint</vt:lpstr>
      <vt:lpstr>Презентация PowerPoint</vt:lpstr>
      <vt:lpstr>Презентация PowerPoint</vt:lpstr>
      <vt:lpstr>Распространение обеспечительного платежа на импортеров алкогольной продукции  из третьих стран</vt:lpstr>
      <vt:lpstr>Не распространение требований об отзыве лицензии при несоблюдении мощности по производству алкогольной продукции в первый квартал деятельности</vt:lpstr>
      <vt:lpstr>Совершенствование законодательства по администрированию подакцизной продукции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дложение по изменению действующего законодательства</dc:title>
  <dc:creator>Мурзагалиева Лаззат Имангельдиевна</dc:creator>
  <cp:lastModifiedBy>Айдос Жуматай</cp:lastModifiedBy>
  <cp:revision>1154</cp:revision>
  <cp:lastPrinted>2016-09-09T13:24:22Z</cp:lastPrinted>
  <dcterms:created xsi:type="dcterms:W3CDTF">2015-12-11T12:32:02Z</dcterms:created>
  <dcterms:modified xsi:type="dcterms:W3CDTF">2016-12-22T03:19:35Z</dcterms:modified>
</cp:coreProperties>
</file>